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9.xml" ContentType="application/vnd.openxmlformats-officedocument.presentationml.tags+xml"/>
  <Override PartName="/ppt/notesSlides/notesSlide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3.xml" ContentType="application/vnd.openxmlformats-officedocument.presentationml.tags+xml"/>
  <Override PartName="/ppt/notesSlides/notesSlide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4.xml" ContentType="application/vnd.openxmlformats-officedocument.presentationml.notesSlide+xml"/>
  <Override PartName="/ppt/tags/tag86.xml" ContentType="application/vnd.openxmlformats-officedocument.presentationml.tags+xml"/>
  <Override PartName="/ppt/notesSlides/notesSlide5.xml" ContentType="application/vnd.openxmlformats-officedocument.presentationml.notesSlide+xml"/>
  <Override PartName="/ppt/tags/tag87.xml" ContentType="application/vnd.openxmlformats-officedocument.presentationml.tags+xml"/>
  <Override PartName="/ppt/notesSlides/notesSlide6.xml" ContentType="application/vnd.openxmlformats-officedocument.presentationml.notesSlide+xml"/>
  <Override PartName="/ppt/tags/tag88.xml" ContentType="application/vnd.openxmlformats-officedocument.presentationml.tags+xml"/>
  <Override PartName="/ppt/notesSlides/notesSlide7.xml" ContentType="application/vnd.openxmlformats-officedocument.presentationml.notesSlide+xml"/>
  <Override PartName="/ppt/tags/tag89.xml" ContentType="application/vnd.openxmlformats-officedocument.presentationml.tags+xml"/>
  <Override PartName="/ppt/notesSlides/notesSlide8.xml" ContentType="application/vnd.openxmlformats-officedocument.presentationml.notesSlide+xml"/>
  <Override PartName="/ppt/tags/tag90.xml" ContentType="application/vnd.openxmlformats-officedocument.presentationml.tags+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91.xml" ContentType="application/vnd.openxmlformats-officedocument.presentationml.tags+xml"/>
  <Override PartName="/ppt/tags/tag9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55" r:id="rId1"/>
    <p:sldMasterId id="2147484015" r:id="rId2"/>
  </p:sldMasterIdLst>
  <p:notesMasterIdLst>
    <p:notesMasterId r:id="rId16"/>
  </p:notesMasterIdLst>
  <p:handoutMasterIdLst>
    <p:handoutMasterId r:id="rId17"/>
  </p:handoutMasterIdLst>
  <p:sldIdLst>
    <p:sldId id="3232" r:id="rId3"/>
    <p:sldId id="3449" r:id="rId4"/>
    <p:sldId id="3441" r:id="rId5"/>
    <p:sldId id="3454" r:id="rId6"/>
    <p:sldId id="3456" r:id="rId7"/>
    <p:sldId id="3458" r:id="rId8"/>
    <p:sldId id="3393" r:id="rId9"/>
    <p:sldId id="3404" r:id="rId10"/>
    <p:sldId id="3398" r:id="rId11"/>
    <p:sldId id="3407" r:id="rId12"/>
    <p:sldId id="3463" r:id="rId13"/>
    <p:sldId id="3427" r:id="rId14"/>
    <p:sldId id="3438" r:id="rId15"/>
  </p:sldIdLst>
  <p:sldSz cx="12192000" cy="6858000"/>
  <p:notesSz cx="6886575" cy="10018713"/>
  <p:embeddedFontLst>
    <p:embeddedFont>
      <p:font typeface="Corbel" panose="020B0503020204020204" pitchFamily="34" charset="0"/>
      <p:regular r:id="rId18"/>
      <p:bold r:id="rId19"/>
      <p:italic r:id="rId20"/>
      <p:boldItalic r:id="rId21"/>
    </p:embeddedFont>
  </p:embeddedFontLst>
  <p:custDataLst>
    <p:tags r:id="rId22"/>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Default Section" id="{5D359A0F-A022-4753-BE7E-5DAE5FF01597}">
          <p14:sldIdLst>
            <p14:sldId id="3232"/>
            <p14:sldId id="3449"/>
            <p14:sldId id="3441"/>
            <p14:sldId id="3454"/>
            <p14:sldId id="3456"/>
            <p14:sldId id="3458"/>
            <p14:sldId id="3393"/>
            <p14:sldId id="3404"/>
            <p14:sldId id="3398"/>
            <p14:sldId id="3407"/>
            <p14:sldId id="3463"/>
            <p14:sldId id="3427"/>
            <p14:sldId id="34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E69400"/>
    <a:srgbClr val="F2F2F2"/>
    <a:srgbClr val="BF211E"/>
    <a:srgbClr val="FF5D5D"/>
    <a:srgbClr val="FFE8BA"/>
    <a:srgbClr val="FFFFFF"/>
    <a:srgbClr val="FFF5E1"/>
    <a:srgbClr val="FFF2D9"/>
    <a:srgbClr val="FFED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26" autoAdjust="0"/>
  </p:normalViewPr>
  <p:slideViewPr>
    <p:cSldViewPr snapToGrid="0">
      <p:cViewPr varScale="1">
        <p:scale>
          <a:sx n="114" d="100"/>
          <a:sy n="114" d="100"/>
        </p:scale>
        <p:origin x="474" y="90"/>
      </p:cViewPr>
      <p:guideLst/>
    </p:cSldViewPr>
  </p:slideViewPr>
  <p:outlineViewPr>
    <p:cViewPr>
      <p:scale>
        <a:sx n="33" d="100"/>
        <a:sy n="33" d="100"/>
      </p:scale>
      <p:origin x="0" y="-20482"/>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78" d="100"/>
          <a:sy n="78" d="100"/>
        </p:scale>
        <p:origin x="397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font" Target="fonts/font1.fntdata"/><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font" Target="fonts/font4.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font" Target="fonts/font2.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75000"/>
                    <a:lumOff val="25000"/>
                  </a:schemeClr>
                </a:solidFill>
                <a:latin typeface="+mn-lt"/>
                <a:ea typeface="+mn-ea"/>
                <a:cs typeface="+mn-cs"/>
              </a:defRPr>
            </a:pPr>
            <a:r>
              <a:rPr lang="en-US" sz="1600" b="1" dirty="0" err="1">
                <a:solidFill>
                  <a:schemeClr val="tx1">
                    <a:lumMod val="75000"/>
                    <a:lumOff val="25000"/>
                  </a:schemeClr>
                </a:solidFill>
              </a:rPr>
              <a:t>Gemeentelijke</a:t>
            </a:r>
            <a:r>
              <a:rPr lang="en-US" sz="1600" b="1" dirty="0">
                <a:solidFill>
                  <a:schemeClr val="tx1">
                    <a:lumMod val="75000"/>
                    <a:lumOff val="25000"/>
                  </a:schemeClr>
                </a:solidFill>
              </a:rPr>
              <a:t> inkomsten</a:t>
            </a:r>
            <a:r>
              <a:rPr lang="en-US" sz="1600" b="1" baseline="30000" dirty="0">
                <a:solidFill>
                  <a:schemeClr val="tx1">
                    <a:lumMod val="75000"/>
                    <a:lumOff val="25000"/>
                  </a:schemeClr>
                </a:solidFill>
              </a:rPr>
              <a:t>1</a:t>
            </a:r>
            <a:endParaRPr lang="en-US" sz="1600" b="1" dirty="0">
              <a:solidFill>
                <a:schemeClr val="tx1">
                  <a:lumMod val="75000"/>
                  <a:lumOff val="25000"/>
                </a:schemeClr>
              </a:solidFill>
            </a:endParaRPr>
          </a:p>
        </c:rich>
      </c:tx>
      <c:layout>
        <c:manualLayout>
          <c:xMode val="edge"/>
          <c:yMode val="edge"/>
          <c:x val="0.2303538082041168"/>
          <c:y val="3.8325309217565953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75000"/>
                  <a:lumOff val="25000"/>
                </a:schemeClr>
              </a:solidFill>
              <a:latin typeface="+mn-lt"/>
              <a:ea typeface="+mn-ea"/>
              <a:cs typeface="+mn-cs"/>
            </a:defRPr>
          </a:pPr>
          <a:endParaRPr lang="nl-NL"/>
        </a:p>
      </c:txPr>
    </c:title>
    <c:autoTitleDeleted val="0"/>
    <c:plotArea>
      <c:layout>
        <c:manualLayout>
          <c:layoutTarget val="inner"/>
          <c:xMode val="edge"/>
          <c:yMode val="edge"/>
          <c:x val="0.16655845489889373"/>
          <c:y val="0.16347550613405282"/>
          <c:w val="0.57532158908006892"/>
          <c:h val="0.69825906995919806"/>
        </c:manualLayout>
      </c:layout>
      <c:pieChart>
        <c:varyColors val="1"/>
        <c:ser>
          <c:idx val="0"/>
          <c:order val="0"/>
          <c:tx>
            <c:strRef>
              <c:f>Sheet1!$B$1</c:f>
              <c:strCache>
                <c:ptCount val="1"/>
                <c:pt idx="0">
                  <c:v>Gemeentelijke inkomste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93A-4A53-903B-714BB6E91720}"/>
              </c:ext>
            </c:extLst>
          </c:dPt>
          <c:dPt>
            <c:idx val="1"/>
            <c:bubble3D val="0"/>
            <c:spPr>
              <a:solidFill>
                <a:srgbClr val="95C5C9"/>
              </a:solidFill>
              <a:ln w="19050">
                <a:solidFill>
                  <a:schemeClr val="lt1"/>
                </a:solidFill>
              </a:ln>
              <a:effectLst/>
            </c:spPr>
            <c:extLst>
              <c:ext xmlns:c16="http://schemas.microsoft.com/office/drawing/2014/chart" uri="{C3380CC4-5D6E-409C-BE32-E72D297353CC}">
                <c16:uniqueId val="{00000003-493A-4A53-903B-714BB6E91720}"/>
              </c:ext>
            </c:extLst>
          </c:dPt>
          <c:dPt>
            <c:idx val="2"/>
            <c:bubble3D val="0"/>
            <c:spPr>
              <a:solidFill>
                <a:srgbClr val="DBDBDB"/>
              </a:solidFill>
              <a:ln w="19050">
                <a:solidFill>
                  <a:schemeClr val="lt1"/>
                </a:solidFill>
              </a:ln>
              <a:effectLst/>
            </c:spPr>
            <c:extLst>
              <c:ext xmlns:c16="http://schemas.microsoft.com/office/drawing/2014/chart" uri="{C3380CC4-5D6E-409C-BE32-E72D297353CC}">
                <c16:uniqueId val="{00000005-493A-4A53-903B-714BB6E9172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93A-4A53-903B-714BB6E91720}"/>
              </c:ext>
            </c:extLst>
          </c:dPt>
          <c:dLbls>
            <c:dLbl>
              <c:idx val="0"/>
              <c:layout>
                <c:manualLayout>
                  <c:x val="-0.20179847603826623"/>
                  <c:y val="1.1304910810437841E-2"/>
                </c:manualLayout>
              </c:layout>
              <c:tx>
                <c:rich>
                  <a:bodyPr/>
                  <a:lstStyle/>
                  <a:p>
                    <a:r>
                      <a:rPr lang="en-US" sz="1600" b="0" dirty="0">
                        <a:solidFill>
                          <a:schemeClr val="bg1"/>
                        </a:solidFill>
                      </a:rPr>
                      <a:t>50 %</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93A-4A53-903B-714BB6E91720}"/>
                </c:ext>
              </c:extLst>
            </c:dLbl>
            <c:dLbl>
              <c:idx val="1"/>
              <c:layout>
                <c:manualLayout>
                  <c:x val="7.4977295010427963E-2"/>
                  <c:y val="-0.15374683001212752"/>
                </c:manualLayout>
              </c:layout>
              <c:tx>
                <c:rich>
                  <a:bodyPr/>
                  <a:lstStyle/>
                  <a:p>
                    <a:r>
                      <a:rPr lang="en-US" dirty="0">
                        <a:solidFill>
                          <a:schemeClr val="tx1">
                            <a:lumMod val="75000"/>
                            <a:lumOff val="25000"/>
                          </a:schemeClr>
                        </a:solidFill>
                      </a:rP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93A-4A53-903B-714BB6E91720}"/>
                </c:ext>
              </c:extLst>
            </c:dLbl>
            <c:dLbl>
              <c:idx val="2"/>
              <c:layout>
                <c:manualLayout>
                  <c:x val="0.18613468982363071"/>
                  <c:y val="7.7922052797950919E-2"/>
                </c:manualLayout>
              </c:layout>
              <c:tx>
                <c:rich>
                  <a:bodyPr/>
                  <a:lstStyle/>
                  <a:p>
                    <a:r>
                      <a:rPr lang="en-US" dirty="0">
                        <a:solidFill>
                          <a:schemeClr val="tx1">
                            <a:lumMod val="75000"/>
                            <a:lumOff val="25000"/>
                          </a:schemeClr>
                        </a:solidFill>
                      </a:rP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93A-4A53-903B-714BB6E91720}"/>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extLst>
              <c:ext xmlns:c15="http://schemas.microsoft.com/office/drawing/2012/chart" uri="{CE6537A1-D6FC-4f65-9D91-7224C49458BB}"/>
            </c:extLst>
          </c:dLbls>
          <c:cat>
            <c:strRef>
              <c:f>Sheet1!$A$2:$A$4</c:f>
              <c:strCache>
                <c:ptCount val="3"/>
                <c:pt idx="0">
                  <c:v>Gemeentefonds</c:v>
                </c:pt>
                <c:pt idx="1">
                  <c:v>Overige Rijksbijdragen</c:v>
                </c:pt>
                <c:pt idx="2">
                  <c:v>Eigen inkomsten</c:v>
                </c:pt>
              </c:strCache>
            </c:strRef>
          </c:cat>
          <c:val>
            <c:numRef>
              <c:f>Sheet1!$B$2:$B$4</c:f>
              <c:numCache>
                <c:formatCode>_ * #,##0.000_ ;_ * \-#,##0.000_ ;_ * "-"???_ ;_ @_ </c:formatCode>
                <c:ptCount val="3"/>
                <c:pt idx="0">
                  <c:v>34.613495855746457</c:v>
                </c:pt>
                <c:pt idx="1">
                  <c:v>8.4263504679257615</c:v>
                </c:pt>
                <c:pt idx="2">
                  <c:v>27.735546794426831</c:v>
                </c:pt>
              </c:numCache>
            </c:numRef>
          </c:val>
          <c:extLst>
            <c:ext xmlns:c16="http://schemas.microsoft.com/office/drawing/2014/chart" uri="{C3380CC4-5D6E-409C-BE32-E72D297353CC}">
              <c16:uniqueId val="{00000008-493A-4A53-903B-714BB6E9172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31.5</cx:pt>
          <cx:pt idx="1">-2.6000000000000001</cx:pt>
          <cx:pt idx="2">28.899999999999999</cx:pt>
          <cx:pt idx="3">5.7000000000000002</cx:pt>
          <cx:pt idx="4">34.600000000000001</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0"/>
            <a:ext cx="2984182" cy="236918"/>
          </a:xfrm>
          <a:prstGeom prst="rect">
            <a:avLst/>
          </a:prstGeom>
        </p:spPr>
        <p:txBody>
          <a:bodyPr vert="horz" lIns="92711" tIns="46356" rIns="92711" bIns="46356" rtlCol="0"/>
          <a:lstStyle>
            <a:lvl1pPr algn="l" fontAlgn="auto">
              <a:spcBef>
                <a:spcPts val="0"/>
              </a:spcBef>
              <a:spcAft>
                <a:spcPts val="0"/>
              </a:spcAft>
              <a:defRPr sz="1200">
                <a:latin typeface="+mn-lt"/>
                <a:cs typeface="+mn-cs"/>
              </a:defRPr>
            </a:lvl1pPr>
          </a:lstStyle>
          <a:p>
            <a:pPr>
              <a:defRPr/>
            </a:pPr>
            <a:endParaRPr lang="nl-NL" dirty="0"/>
          </a:p>
        </p:txBody>
      </p:sp>
      <p:sp>
        <p:nvSpPr>
          <p:cNvPr id="4" name="Tijdelijke aanduiding voor voettekst 3"/>
          <p:cNvSpPr>
            <a:spLocks noGrp="1"/>
          </p:cNvSpPr>
          <p:nvPr>
            <p:ph type="ftr" sz="quarter" idx="2"/>
          </p:nvPr>
        </p:nvSpPr>
        <p:spPr>
          <a:xfrm>
            <a:off x="3" y="9780054"/>
            <a:ext cx="2984182" cy="236919"/>
          </a:xfrm>
          <a:prstGeom prst="rect">
            <a:avLst/>
          </a:prstGeom>
        </p:spPr>
        <p:txBody>
          <a:bodyPr vert="horz" lIns="92711" tIns="46356" rIns="92711" bIns="46356"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900801" y="9780054"/>
            <a:ext cx="2984182" cy="236919"/>
          </a:xfrm>
          <a:prstGeom prst="rect">
            <a:avLst/>
          </a:prstGeom>
        </p:spPr>
        <p:txBody>
          <a:bodyPr vert="horz" wrap="square" lIns="92711" tIns="46356" rIns="92711" bIns="46356"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1"/>
            <a:ext cx="2984182" cy="260979"/>
          </a:xfrm>
          <a:prstGeom prst="rect">
            <a:avLst/>
          </a:prstGeom>
        </p:spPr>
        <p:txBody>
          <a:bodyPr vert="horz" lIns="92711" tIns="46356" rIns="92711" bIns="46356"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900801" y="1"/>
            <a:ext cx="2984182" cy="260979"/>
          </a:xfrm>
          <a:prstGeom prst="rect">
            <a:avLst/>
          </a:prstGeom>
        </p:spPr>
        <p:txBody>
          <a:bodyPr vert="horz" lIns="92711" tIns="46356" rIns="92711" bIns="46356" rtlCol="0"/>
          <a:lstStyle>
            <a:lvl1pPr algn="r" fontAlgn="auto">
              <a:spcBef>
                <a:spcPts val="0"/>
              </a:spcBef>
              <a:spcAft>
                <a:spcPts val="0"/>
              </a:spcAft>
              <a:defRPr sz="1200">
                <a:latin typeface="+mn-lt"/>
                <a:cs typeface="+mn-cs"/>
              </a:defRPr>
            </a:lvl1pPr>
          </a:lstStyle>
          <a:p>
            <a:pPr>
              <a:defRPr/>
            </a:pPr>
            <a:fld id="{AC5868DF-D8BD-409C-B6DB-626CBFA20D94}" type="datetimeFigureOut">
              <a:rPr lang="nl-NL"/>
              <a:pPr>
                <a:defRPr/>
              </a:pPr>
              <a:t>10-3-2022</a:t>
            </a:fld>
            <a:endParaRPr lang="nl-NL" dirty="0"/>
          </a:p>
        </p:txBody>
      </p:sp>
      <p:sp>
        <p:nvSpPr>
          <p:cNvPr id="4" name="Tijdelijke aanduiding voor dia-afbeelding 3"/>
          <p:cNvSpPr>
            <a:spLocks noGrp="1" noRot="1" noChangeAspect="1"/>
          </p:cNvSpPr>
          <p:nvPr>
            <p:ph type="sldImg" idx="2"/>
          </p:nvPr>
        </p:nvSpPr>
        <p:spPr>
          <a:xfrm>
            <a:off x="103188" y="750888"/>
            <a:ext cx="6680200" cy="3757612"/>
          </a:xfrm>
          <a:prstGeom prst="rect">
            <a:avLst/>
          </a:prstGeom>
          <a:noFill/>
          <a:ln w="12700">
            <a:solidFill>
              <a:prstClr val="black"/>
            </a:solidFill>
          </a:ln>
        </p:spPr>
        <p:txBody>
          <a:bodyPr vert="horz" lIns="92711" tIns="46356" rIns="92711" bIns="46356" rtlCol="0" anchor="ctr"/>
          <a:lstStyle/>
          <a:p>
            <a:pPr lvl="0"/>
            <a:endParaRPr lang="nl-NL" noProof="0" dirty="0"/>
          </a:p>
        </p:txBody>
      </p:sp>
      <p:sp>
        <p:nvSpPr>
          <p:cNvPr id="5" name="Tijdelijke aanduiding voor notities 4"/>
          <p:cNvSpPr>
            <a:spLocks noGrp="1"/>
          </p:cNvSpPr>
          <p:nvPr>
            <p:ph type="body" sz="quarter" idx="3"/>
          </p:nvPr>
        </p:nvSpPr>
        <p:spPr>
          <a:xfrm>
            <a:off x="107754" y="4758890"/>
            <a:ext cx="6671068" cy="4508421"/>
          </a:xfrm>
          <a:prstGeom prst="rect">
            <a:avLst/>
          </a:prstGeom>
        </p:spPr>
        <p:txBody>
          <a:bodyPr vert="horz" lIns="92711" tIns="46356" rIns="92711" bIns="46356"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3" y="9755995"/>
            <a:ext cx="2984182" cy="260979"/>
          </a:xfrm>
          <a:prstGeom prst="rect">
            <a:avLst/>
          </a:prstGeom>
        </p:spPr>
        <p:txBody>
          <a:bodyPr vert="horz" lIns="92711" tIns="46356" rIns="92711" bIns="46356" rtlCol="0" anchor="b"/>
          <a:lstStyle>
            <a:lvl1pPr algn="l" fontAlgn="auto">
              <a:spcBef>
                <a:spcPts val="0"/>
              </a:spcBef>
              <a:spcAft>
                <a:spcPts val="0"/>
              </a:spcAft>
              <a:defRPr sz="1200">
                <a:latin typeface="+mn-lt"/>
                <a:cs typeface="+mn-cs"/>
              </a:defRPr>
            </a:lvl1pPr>
          </a:lstStyle>
          <a:p>
            <a:pPr>
              <a:defRPr/>
            </a:pPr>
            <a:endParaRPr lang="nl-NL"/>
          </a:p>
        </p:txBody>
      </p:sp>
      <p:sp>
        <p:nvSpPr>
          <p:cNvPr id="7" name="Tijdelijke aanduiding voor dianummer 6"/>
          <p:cNvSpPr>
            <a:spLocks noGrp="1"/>
          </p:cNvSpPr>
          <p:nvPr>
            <p:ph type="sldNum" sz="quarter" idx="5"/>
          </p:nvPr>
        </p:nvSpPr>
        <p:spPr>
          <a:xfrm>
            <a:off x="3900801" y="9755995"/>
            <a:ext cx="2984182" cy="260979"/>
          </a:xfrm>
          <a:prstGeom prst="rect">
            <a:avLst/>
          </a:prstGeom>
        </p:spPr>
        <p:txBody>
          <a:bodyPr vert="horz" wrap="square" lIns="92711" tIns="46356" rIns="92711" bIns="46356" numCol="1" anchor="b" anchorCtr="0" compatLnSpc="1">
            <a:prstTxWarp prst="textNoShape">
              <a:avLst/>
            </a:prstTxWarp>
          </a:bodyPr>
          <a:lstStyle>
            <a:lvl1pPr algn="r">
              <a:defRPr sz="1200">
                <a:latin typeface="Corbel" panose="020B0503020204020204" pitchFamily="34" charset="0"/>
              </a:defRPr>
            </a:lvl1pPr>
          </a:lstStyle>
          <a:p>
            <a:fld id="{3894C14A-43FC-4077-9BE3-59190B437372}" type="slidenum">
              <a:rPr lang="nl-NL" altLang="en-US"/>
              <a:pPr/>
              <a:t>‹#›</a:t>
            </a:fld>
            <a:endParaRPr lang="nl-NL" altLang="en-US"/>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3894C14A-43FC-4077-9BE3-59190B437372}" type="slidenum">
              <a:rPr lang="nl-NL" smtClean="0"/>
              <a:pPr/>
              <a:t>1</a:t>
            </a:fld>
            <a:endParaRPr lang="nl-NL"/>
          </a:p>
        </p:txBody>
      </p:sp>
    </p:spTree>
    <p:extLst>
      <p:ext uri="{BB962C8B-B14F-4D97-AF65-F5344CB8AC3E}">
        <p14:creationId xmlns:p14="http://schemas.microsoft.com/office/powerpoint/2010/main" val="3308911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4</a:t>
            </a:fld>
            <a:endParaRPr lang="nl-NL" altLang="en-US"/>
          </a:p>
        </p:txBody>
      </p:sp>
    </p:spTree>
    <p:extLst>
      <p:ext uri="{BB962C8B-B14F-4D97-AF65-F5344CB8AC3E}">
        <p14:creationId xmlns:p14="http://schemas.microsoft.com/office/powerpoint/2010/main" val="1311616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5</a:t>
            </a:fld>
            <a:endParaRPr lang="nl-NL" altLang="en-US"/>
          </a:p>
        </p:txBody>
      </p:sp>
    </p:spTree>
    <p:extLst>
      <p:ext uri="{BB962C8B-B14F-4D97-AF65-F5344CB8AC3E}">
        <p14:creationId xmlns:p14="http://schemas.microsoft.com/office/powerpoint/2010/main" val="2798115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7</a:t>
            </a:fld>
            <a:endParaRPr lang="nl-NL" altLang="en-US"/>
          </a:p>
        </p:txBody>
      </p:sp>
    </p:spTree>
    <p:extLst>
      <p:ext uri="{BB962C8B-B14F-4D97-AF65-F5344CB8AC3E}">
        <p14:creationId xmlns:p14="http://schemas.microsoft.com/office/powerpoint/2010/main" val="2116839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8</a:t>
            </a:fld>
            <a:endParaRPr lang="nl-NL" altLang="en-US"/>
          </a:p>
        </p:txBody>
      </p:sp>
    </p:spTree>
    <p:extLst>
      <p:ext uri="{BB962C8B-B14F-4D97-AF65-F5344CB8AC3E}">
        <p14:creationId xmlns:p14="http://schemas.microsoft.com/office/powerpoint/2010/main" val="2383498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9</a:t>
            </a:fld>
            <a:endParaRPr lang="nl-NL" altLang="en-US"/>
          </a:p>
        </p:txBody>
      </p:sp>
    </p:spTree>
    <p:extLst>
      <p:ext uri="{BB962C8B-B14F-4D97-AF65-F5344CB8AC3E}">
        <p14:creationId xmlns:p14="http://schemas.microsoft.com/office/powerpoint/2010/main" val="3812267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0</a:t>
            </a:fld>
            <a:endParaRPr lang="nl-NL" altLang="en-US"/>
          </a:p>
        </p:txBody>
      </p:sp>
    </p:spTree>
    <p:extLst>
      <p:ext uri="{BB962C8B-B14F-4D97-AF65-F5344CB8AC3E}">
        <p14:creationId xmlns:p14="http://schemas.microsoft.com/office/powerpoint/2010/main" val="4275154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1</a:t>
            </a:fld>
            <a:endParaRPr lang="nl-NL" altLang="en-US"/>
          </a:p>
        </p:txBody>
      </p:sp>
    </p:spTree>
    <p:extLst>
      <p:ext uri="{BB962C8B-B14F-4D97-AF65-F5344CB8AC3E}">
        <p14:creationId xmlns:p14="http://schemas.microsoft.com/office/powerpoint/2010/main" val="1800514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8.bin"/><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7.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2"/>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23944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521405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2"/>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00070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2"/>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664513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2"/>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87982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2"/>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92901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60961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2"/>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129771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2"/>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0499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51460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2"/>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5878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2"/>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847543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2"/>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97533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2"/>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2"/>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394265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2"/>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2"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2"/>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6"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855115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2"/>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0"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1759468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2"/>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4"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r>
              <a:rPr lang="nl-NL"/>
              <a:t>Bron: </a:t>
            </a:r>
          </a:p>
        </p:txBody>
      </p:sp>
    </p:spTree>
    <p:extLst>
      <p:ext uri="{BB962C8B-B14F-4D97-AF65-F5344CB8AC3E}">
        <p14:creationId xmlns:p14="http://schemas.microsoft.com/office/powerpoint/2010/main" val="2807261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94931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userDrawn="1"/>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userDrawn="1"/>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6690740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250377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525030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410929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6"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12676020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2"/>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0"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2"/>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4"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2"/>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713890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2"/>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pPr marL="0" indent="0">
              <a:buFont typeface="Wingdings" panose="05000000000000000000" pitchFamily="2" charset="2"/>
              <a:buNone/>
            </a:pPr>
            <a:r>
              <a:rPr lang="nl-NL" dirty="0"/>
              <a:t>Bron: </a:t>
            </a:r>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630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2"/>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6"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13856414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1675468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12620022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2"/>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26419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9992367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461948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4"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35874477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282205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622307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2040025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8395308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302944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6432175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36713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582447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8549800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46266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1327169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8851706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036455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57508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044759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41864293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4456729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081571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5603701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4955963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9518439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2"/>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6160525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15189374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6293219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1322059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852235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895458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6537250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19381668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42223139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16345084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08583689"/>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2"/>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5799481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37847101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914887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6159874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3496049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8231911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340975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6689689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64754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6065227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4015266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843399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2"/>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2235368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vmlDrawing" Target="../drawings/vmlDrawing39.vml"/><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oleObject" Target="../embeddings/oleObject39.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4" Type="http://schemas.openxmlformats.org/officeDocument/2006/relationships/tags" Target="../tags/tag72.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tags" Target="../tags/tag71.xml"/><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image" Target="../media/image1.emf"/><Relationship Id="rId20" Type="http://schemas.openxmlformats.org/officeDocument/2006/relationships/slideLayout" Target="../slideLayouts/slideLayout58.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31241184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78" name="think-cell Slide" r:id="rId43" imgW="470" imgH="469" progId="TCLayout.ActiveDocument.1">
                  <p:embed/>
                </p:oleObj>
              </mc:Choice>
              <mc:Fallback>
                <p:oleObj name="think-cell Slide" r:id="rId43" imgW="470" imgH="469" progId="TCLayout.ActiveDocument.1">
                  <p:embed/>
                  <p:pic>
                    <p:nvPicPr>
                      <p:cNvPr id="0" name=""/>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4014" r:id="rId8"/>
    <p:sldLayoutId id="2147483973" r:id="rId9"/>
    <p:sldLayoutId id="2147483963" r:id="rId10"/>
    <p:sldLayoutId id="2147484010" r:id="rId11"/>
    <p:sldLayoutId id="2147483969" r:id="rId12"/>
    <p:sldLayoutId id="2147483964" r:id="rId13"/>
    <p:sldLayoutId id="2147483967" r:id="rId14"/>
    <p:sldLayoutId id="2147483968" r:id="rId15"/>
    <p:sldLayoutId id="2147484000" r:id="rId16"/>
    <p:sldLayoutId id="2147483966" r:id="rId17"/>
    <p:sldLayoutId id="2147483970" r:id="rId18"/>
    <p:sldLayoutId id="2147484009" r:id="rId19"/>
    <p:sldLayoutId id="2147483975" r:id="rId20"/>
    <p:sldLayoutId id="2147483974" r:id="rId21"/>
    <p:sldLayoutId id="2147483972" r:id="rId22"/>
    <p:sldLayoutId id="2147483987" r:id="rId23"/>
    <p:sldLayoutId id="2147484001" r:id="rId24"/>
    <p:sldLayoutId id="2147483988" r:id="rId25"/>
    <p:sldLayoutId id="2147483965" r:id="rId26"/>
    <p:sldLayoutId id="2147484003" r:id="rId27"/>
    <p:sldLayoutId id="2147484004" r:id="rId28"/>
    <p:sldLayoutId id="2147484005" r:id="rId29"/>
    <p:sldLayoutId id="2147484012" r:id="rId30"/>
    <p:sldLayoutId id="2147484011" r:id="rId31"/>
    <p:sldLayoutId id="2147484013" r:id="rId32"/>
    <p:sldLayoutId id="2147483989" r:id="rId33"/>
    <p:sldLayoutId id="2147483995" r:id="rId34"/>
    <p:sldLayoutId id="2147483993" r:id="rId35"/>
    <p:sldLayoutId id="2147483991" r:id="rId36"/>
    <p:sldLayoutId id="2147484006" r:id="rId37"/>
    <p:sldLayoutId id="2147484056" r:id="rId38"/>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77915416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990"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2469682735"/>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2" r:id="rId27"/>
    <p:sldLayoutId id="2147484043" r:id="rId28"/>
    <p:sldLayoutId id="2147484044" r:id="rId29"/>
    <p:sldLayoutId id="2147484045" r:id="rId30"/>
    <p:sldLayoutId id="2147484046" r:id="rId31"/>
    <p:sldLayoutId id="2147484047" r:id="rId32"/>
    <p:sldLayoutId id="2147484048" r:id="rId33"/>
    <p:sldLayoutId id="2147484049" r:id="rId34"/>
    <p:sldLayoutId id="2147484050" r:id="rId35"/>
    <p:sldLayoutId id="2147484051" r:id="rId36"/>
    <p:sldLayoutId id="2147484052" r:id="rId37"/>
    <p:sldLayoutId id="2147484053" r:id="rId38"/>
    <p:sldLayoutId id="2147484054" r:id="rId39"/>
    <p:sldLayoutId id="2147484055"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9.jpeg"/><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NULL"/><Relationship Id="rId5" Type="http://schemas.openxmlformats.org/officeDocument/2006/relationships/oleObject" Target="../embeddings/oleObject53.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0.png"/><Relationship Id="rId2" Type="http://schemas.openxmlformats.org/officeDocument/2006/relationships/tags" Target="../tags/tag90.xml"/><Relationship Id="rId1" Type="http://schemas.openxmlformats.org/officeDocument/2006/relationships/vmlDrawing" Target="../drawings/vmlDrawing54.vml"/><Relationship Id="rId6" Type="http://schemas.microsoft.com/office/2014/relationships/chartEx" Target="../charts/chartEx1.xml"/><Relationship Id="rId5" Type="http://schemas.openxmlformats.org/officeDocument/2006/relationships/image" Target="../media/image7.emf"/><Relationship Id="rId4" Type="http://schemas.openxmlformats.org/officeDocument/2006/relationships/oleObject" Target="../embeddings/oleObject54.bin"/></Relationships>
</file>

<file path=ppt/slides/_rels/slide13.xml.rels><?xml version="1.0" encoding="UTF-8" standalone="yes"?>
<Relationships xmlns="http://schemas.openxmlformats.org/package/2006/relationships"><Relationship Id="rId8" Type="http://schemas.openxmlformats.org/officeDocument/2006/relationships/hyperlink" Target="http://creativecommons.org/licenses/by/4.0/" TargetMode="External"/><Relationship Id="rId3" Type="http://schemas.openxmlformats.org/officeDocument/2006/relationships/tags" Target="../tags/tag92.xml"/><Relationship Id="rId7" Type="http://schemas.openxmlformats.org/officeDocument/2006/relationships/hyperlink" Target="http://www.itspublic.nl/" TargetMode="External"/><Relationship Id="rId2" Type="http://schemas.openxmlformats.org/officeDocument/2006/relationships/tags" Target="../tags/tag91.xml"/><Relationship Id="rId1" Type="http://schemas.openxmlformats.org/officeDocument/2006/relationships/vmlDrawing" Target="../drawings/vmlDrawing55.vml"/><Relationship Id="rId6" Type="http://schemas.openxmlformats.org/officeDocument/2006/relationships/image" Target="../media/image11.emf"/><Relationship Id="rId5" Type="http://schemas.openxmlformats.org/officeDocument/2006/relationships/oleObject" Target="../embeddings/oleObject55.bin"/><Relationship Id="rId10" Type="http://schemas.openxmlformats.org/officeDocument/2006/relationships/image" Target="../media/image13.png"/><Relationship Id="rId4" Type="http://schemas.openxmlformats.org/officeDocument/2006/relationships/slideLayout" Target="../slideLayouts/slideLayout38.xml"/><Relationship Id="rId9"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82.xml"/><Relationship Id="rId1" Type="http://schemas.openxmlformats.org/officeDocument/2006/relationships/vmlDrawing" Target="../drawings/vmlDrawing46.vml"/><Relationship Id="rId6" Type="http://schemas.openxmlformats.org/officeDocument/2006/relationships/image" Target="NULL"/><Relationship Id="rId5" Type="http://schemas.openxmlformats.org/officeDocument/2006/relationships/oleObject" Target="../embeddings/oleObject46.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image" Target="NULL"/><Relationship Id="rId5" Type="http://schemas.openxmlformats.org/officeDocument/2006/relationships/oleObject" Target="../embeddings/oleObject47.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84.xml"/><Relationship Id="rId1" Type="http://schemas.openxmlformats.org/officeDocument/2006/relationships/vmlDrawing" Target="../drawings/vmlDrawing48.v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4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5.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xml"/><Relationship Id="rId1" Type="http://schemas.openxmlformats.org/officeDocument/2006/relationships/vmlDrawing" Target="../drawings/vmlDrawing51.v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C8873A-6857-4D39-8A91-383727C85029}"/>
              </a:ext>
            </a:extLst>
          </p:cNvPr>
          <p:cNvGraphicFramePr>
            <a:graphicFrameLocks noChangeAspect="1"/>
          </p:cNvGraphicFramePr>
          <p:nvPr>
            <p:custDataLst>
              <p:tags r:id="rId2"/>
            </p:custDataLst>
            <p:extLst>
              <p:ext uri="{D42A27DB-BD31-4B8C-83A1-F6EECF244321}">
                <p14:modId xmlns:p14="http://schemas.microsoft.com/office/powerpoint/2010/main" val="1318044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6"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2BC8873A-6857-4D39-8A91-383727C850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outdoor, tall, city, skyscraper&#10;&#10;Description automatically generated">
            <a:extLst>
              <a:ext uri="{FF2B5EF4-FFF2-40B4-BE49-F238E27FC236}">
                <a16:creationId xmlns:a16="http://schemas.microsoft.com/office/drawing/2014/main" id="{35F55F65-2E40-4E34-8C0D-70EA1E47F0A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629525" y="0"/>
            <a:ext cx="4562475" cy="6858000"/>
          </a:xfrm>
          <a:prstGeom prst="rect">
            <a:avLst/>
          </a:prstGeom>
          <a:gradFill>
            <a:gsLst>
              <a:gs pos="36000">
                <a:schemeClr val="tx2"/>
              </a:gs>
              <a:gs pos="84000">
                <a:schemeClr val="tx2">
                  <a:alpha val="60000"/>
                </a:schemeClr>
              </a:gs>
              <a:gs pos="100000">
                <a:schemeClr val="tx2">
                  <a:alpha val="0"/>
                </a:schemeClr>
              </a:gs>
            </a:gsLst>
            <a:lin ang="0" scaled="0"/>
          </a:gradFill>
        </p:spPr>
      </p:pic>
      <p:sp>
        <p:nvSpPr>
          <p:cNvPr id="2" name="Text Placeholder 1">
            <a:extLst>
              <a:ext uri="{FF2B5EF4-FFF2-40B4-BE49-F238E27FC236}">
                <a16:creationId xmlns:a16="http://schemas.microsoft.com/office/drawing/2014/main" id="{E39B021F-6E81-4BC7-A056-E3E86508C207}"/>
              </a:ext>
            </a:extLst>
          </p:cNvPr>
          <p:cNvSpPr>
            <a:spLocks noGrp="1"/>
          </p:cNvSpPr>
          <p:nvPr>
            <p:ph type="body" idx="1"/>
          </p:nvPr>
        </p:nvSpPr>
        <p:spPr/>
        <p:txBody>
          <a:bodyPr/>
          <a:lstStyle/>
          <a:p>
            <a:endParaRPr lang="nl-NL" dirty="0">
              <a:sym typeface="Corbel" panose="020B0503020204020204" pitchFamily="34" charset="0"/>
            </a:endParaRPr>
          </a:p>
          <a:p>
            <a:endParaRPr lang="nl-NL" dirty="0">
              <a:sym typeface="Corbel" panose="020B0503020204020204" pitchFamily="34" charset="0"/>
            </a:endParaRPr>
          </a:p>
          <a:p>
            <a:endParaRPr lang="nl-NL" dirty="0">
              <a:sym typeface="Corbel" panose="020B0503020204020204" pitchFamily="34" charset="0"/>
            </a:endParaRPr>
          </a:p>
          <a:p>
            <a:r>
              <a:rPr lang="nl-NL" dirty="0">
                <a:sym typeface="Corbel" panose="020B0503020204020204" pitchFamily="34" charset="0"/>
              </a:rPr>
              <a:t>Februari 2022</a:t>
            </a:r>
          </a:p>
        </p:txBody>
      </p:sp>
      <p:sp>
        <p:nvSpPr>
          <p:cNvPr id="8" name="Google Shape;357;p1">
            <a:extLst>
              <a:ext uri="{FF2B5EF4-FFF2-40B4-BE49-F238E27FC236}">
                <a16:creationId xmlns:a16="http://schemas.microsoft.com/office/drawing/2014/main" id="{01B1B7AF-D14B-4932-9BCB-7F17F9D12CF5}"/>
              </a:ext>
            </a:extLst>
          </p:cNvPr>
          <p:cNvSpPr/>
          <p:nvPr/>
        </p:nvSpPr>
        <p:spPr>
          <a:xfrm>
            <a:off x="7410451" y="0"/>
            <a:ext cx="3792104" cy="6858000"/>
          </a:xfrm>
          <a:prstGeom prst="rect">
            <a:avLst/>
          </a:prstGeom>
          <a:gradFill>
            <a:gsLst>
              <a:gs pos="4000">
                <a:schemeClr val="tx2"/>
              </a:gs>
              <a:gs pos="48000">
                <a:schemeClr val="tx2">
                  <a:alpha val="60000"/>
                </a:schemeClr>
              </a:gs>
              <a:gs pos="96000">
                <a:schemeClr val="tx2">
                  <a:alpha val="0"/>
                </a:schemeClr>
              </a:gs>
            </a:gsLst>
            <a:lin ang="0" scaled="0"/>
          </a:gradFill>
          <a:ln>
            <a:noFill/>
          </a:ln>
        </p:spPr>
        <p:txBody>
          <a:bodyPr spcFirstLastPara="1" wrap="square" lIns="72000" tIns="72000" rIns="72000" bIns="72000" anchor="ctr" anchorCtr="0">
            <a:noAutofit/>
          </a:bodyPr>
          <a:lstStyle/>
          <a:p>
            <a:pPr marL="180000" marR="0" lvl="0" indent="-91100" algn="ctr" rtl="0">
              <a:lnSpc>
                <a:spcPct val="90000"/>
              </a:lnSpc>
              <a:spcBef>
                <a:spcPts val="0"/>
              </a:spcBef>
              <a:spcAft>
                <a:spcPts val="0"/>
              </a:spcAft>
              <a:buClr>
                <a:schemeClr val="dk2"/>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27" name="Title 2">
            <a:extLst>
              <a:ext uri="{FF2B5EF4-FFF2-40B4-BE49-F238E27FC236}">
                <a16:creationId xmlns:a16="http://schemas.microsoft.com/office/drawing/2014/main" id="{B19548BF-C8FA-4406-A7E1-CA74924A38BB}"/>
              </a:ext>
            </a:extLst>
          </p:cNvPr>
          <p:cNvSpPr>
            <a:spLocks noGrp="1"/>
          </p:cNvSpPr>
          <p:nvPr>
            <p:ph type="ctrTitle"/>
          </p:nvPr>
        </p:nvSpPr>
        <p:spPr>
          <a:xfrm>
            <a:off x="989445" y="1758950"/>
            <a:ext cx="6251864" cy="1835150"/>
          </a:xfrm>
        </p:spPr>
        <p:txBody>
          <a:bodyPr vert="horz"/>
          <a:lstStyle/>
          <a:p>
            <a:r>
              <a:rPr lang="nl-NL" dirty="0">
                <a:solidFill>
                  <a:srgbClr val="FFFFFF"/>
                </a:solidFill>
              </a:rPr>
              <a:t>Introductie Gemeentefonds</a:t>
            </a:r>
            <a:br>
              <a:rPr lang="nl-NL" dirty="0">
                <a:solidFill>
                  <a:srgbClr val="FFFFFF"/>
                </a:solidFill>
              </a:rPr>
            </a:br>
            <a:br>
              <a:rPr lang="nl-NL" dirty="0">
                <a:solidFill>
                  <a:srgbClr val="FFFFFF"/>
                </a:solidFill>
              </a:rPr>
            </a:br>
            <a:r>
              <a:rPr lang="nl-NL" sz="3200" i="1" cap="none" dirty="0">
                <a:solidFill>
                  <a:srgbClr val="FFFFFF"/>
                </a:solidFill>
              </a:rPr>
              <a:t>Hoe werkt de algemene uitkering van het gemeentefonds?</a:t>
            </a:r>
            <a:endParaRPr lang="nl-NL" i="1" dirty="0">
              <a:sym typeface="Corbel" panose="020B0503020204020204" pitchFamily="34" charset="0"/>
            </a:endParaRPr>
          </a:p>
        </p:txBody>
      </p:sp>
    </p:spTree>
    <p:extLst>
      <p:ext uri="{BB962C8B-B14F-4D97-AF65-F5344CB8AC3E}">
        <p14:creationId xmlns:p14="http://schemas.microsoft.com/office/powerpoint/2010/main" val="35618794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09D601E8-CEAF-4BF0-89D2-FCCA946FDD47}"/>
              </a:ext>
            </a:extLst>
          </p:cNvPr>
          <p:cNvGraphicFramePr>
            <a:graphicFrameLocks noChangeAspect="1"/>
          </p:cNvGraphicFramePr>
          <p:nvPr>
            <p:custDataLst>
              <p:tags r:id="rId2"/>
            </p:custDataLst>
            <p:extLst>
              <p:ext uri="{D42A27DB-BD31-4B8C-83A1-F6EECF244321}">
                <p14:modId xmlns:p14="http://schemas.microsoft.com/office/powerpoint/2010/main" val="3614386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50" name="think-cell Slide" r:id="rId5" imgW="501" imgH="502" progId="TCLayout.ActiveDocument.1">
                  <p:embed/>
                </p:oleObj>
              </mc:Choice>
              <mc:Fallback>
                <p:oleObj name="think-cell Slide" r:id="rId5" imgW="501" imgH="502" progId="TCLayout.ActiveDocument.1">
                  <p:embed/>
                  <p:pic>
                    <p:nvPicPr>
                      <p:cNvPr id="23" name="Object 22" hidden="1">
                        <a:extLst>
                          <a:ext uri="{FF2B5EF4-FFF2-40B4-BE49-F238E27FC236}">
                            <a16:creationId xmlns:a16="http://schemas.microsoft.com/office/drawing/2014/main" id="{09D601E8-CEAF-4BF0-89D2-FCCA946FDD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Flowchart: Connector 23">
            <a:extLst>
              <a:ext uri="{FF2B5EF4-FFF2-40B4-BE49-F238E27FC236}">
                <a16:creationId xmlns:a16="http://schemas.microsoft.com/office/drawing/2014/main" id="{623CA7D4-F630-40C4-A930-E82CAACBC719}"/>
              </a:ext>
            </a:extLst>
          </p:cNvPr>
          <p:cNvSpPr/>
          <p:nvPr/>
        </p:nvSpPr>
        <p:spPr>
          <a:xfrm>
            <a:off x="1792909" y="3021771"/>
            <a:ext cx="2280379" cy="2280379"/>
          </a:xfrm>
          <a:prstGeom prst="flowChartConnector">
            <a:avLst/>
          </a:prstGeom>
          <a:solidFill>
            <a:srgbClr val="95C5C9">
              <a:alpha val="50000"/>
            </a:srgbClr>
          </a:solidFill>
          <a:ln w="28575"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p>
        </p:txBody>
      </p:sp>
      <p:grpSp>
        <p:nvGrpSpPr>
          <p:cNvPr id="13" name="Group 12">
            <a:extLst>
              <a:ext uri="{FF2B5EF4-FFF2-40B4-BE49-F238E27FC236}">
                <a16:creationId xmlns:a16="http://schemas.microsoft.com/office/drawing/2014/main" id="{4B6032BE-6A56-40E6-8C31-A182A21B7D8F}"/>
              </a:ext>
            </a:extLst>
          </p:cNvPr>
          <p:cNvGrpSpPr/>
          <p:nvPr/>
        </p:nvGrpSpPr>
        <p:grpSpPr>
          <a:xfrm>
            <a:off x="1052890" y="2277608"/>
            <a:ext cx="3760418" cy="3760418"/>
            <a:chOff x="1097280" y="2277608"/>
            <a:chExt cx="3760418" cy="3760418"/>
          </a:xfrm>
        </p:grpSpPr>
        <p:grpSp>
          <p:nvGrpSpPr>
            <p:cNvPr id="22" name="Group 21">
              <a:extLst>
                <a:ext uri="{FF2B5EF4-FFF2-40B4-BE49-F238E27FC236}">
                  <a16:creationId xmlns:a16="http://schemas.microsoft.com/office/drawing/2014/main" id="{9A9014E0-3BF5-4A88-8706-FF53A9522869}"/>
                </a:ext>
              </a:extLst>
            </p:cNvPr>
            <p:cNvGrpSpPr/>
            <p:nvPr/>
          </p:nvGrpSpPr>
          <p:grpSpPr>
            <a:xfrm>
              <a:off x="1097280" y="2277608"/>
              <a:ext cx="3760418" cy="3760418"/>
              <a:chOff x="3128238" y="2695200"/>
              <a:chExt cx="3507681" cy="3507681"/>
            </a:xfrm>
          </p:grpSpPr>
          <p:sp>
            <p:nvSpPr>
              <p:cNvPr id="11" name="Flowchart: Connector 10">
                <a:extLst>
                  <a:ext uri="{FF2B5EF4-FFF2-40B4-BE49-F238E27FC236}">
                    <a16:creationId xmlns:a16="http://schemas.microsoft.com/office/drawing/2014/main" id="{9245C5EE-83ED-426D-8579-2E9696B73074}"/>
                  </a:ext>
                </a:extLst>
              </p:cNvPr>
              <p:cNvSpPr/>
              <p:nvPr/>
            </p:nvSpPr>
            <p:spPr>
              <a:xfrm>
                <a:off x="3128238" y="2695200"/>
                <a:ext cx="3507681" cy="3507681"/>
              </a:xfrm>
              <a:prstGeom prst="flowChartConnector">
                <a:avLst/>
              </a:prstGeom>
              <a:noFill/>
              <a:ln w="28575" cap="flat">
                <a:solidFill>
                  <a:srgbClr val="22777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solidFill>
                    <a:schemeClr val="tx1"/>
                  </a:solidFill>
                </a:endParaRPr>
              </a:p>
            </p:txBody>
          </p:sp>
          <p:sp>
            <p:nvSpPr>
              <p:cNvPr id="21" name="TextBox 20">
                <a:extLst>
                  <a:ext uri="{FF2B5EF4-FFF2-40B4-BE49-F238E27FC236}">
                    <a16:creationId xmlns:a16="http://schemas.microsoft.com/office/drawing/2014/main" id="{F4D4744E-A412-4DD2-B5CF-C3C11CDE2327}"/>
                  </a:ext>
                </a:extLst>
              </p:cNvPr>
              <p:cNvSpPr txBox="1"/>
              <p:nvPr/>
            </p:nvSpPr>
            <p:spPr>
              <a:xfrm>
                <a:off x="4052577" y="4240912"/>
                <a:ext cx="1746365" cy="569707"/>
              </a:xfrm>
              <a:prstGeom prst="rect">
                <a:avLst/>
              </a:prstGeom>
            </p:spPr>
            <p:txBody>
              <a:bodyPr vert="horz" wrap="square" lIns="91440" tIns="45720" rIns="91440" bIns="45720" rtlCol="0">
                <a:noAutofit/>
              </a:bodyPr>
              <a:lstStyle/>
              <a:p>
                <a:pPr algn="l"/>
                <a:endParaRPr lang="nl-NL" sz="1200" noProof="0" dirty="0"/>
              </a:p>
            </p:txBody>
          </p:sp>
        </p:grpSp>
        <p:sp>
          <p:nvSpPr>
            <p:cNvPr id="26" name="TextBox 25">
              <a:extLst>
                <a:ext uri="{FF2B5EF4-FFF2-40B4-BE49-F238E27FC236}">
                  <a16:creationId xmlns:a16="http://schemas.microsoft.com/office/drawing/2014/main" id="{3BAE0DB4-DC21-4565-8389-FC115F403BCB}"/>
                </a:ext>
              </a:extLst>
            </p:cNvPr>
            <p:cNvSpPr txBox="1"/>
            <p:nvPr/>
          </p:nvSpPr>
          <p:spPr>
            <a:xfrm>
              <a:off x="1849102" y="2404555"/>
              <a:ext cx="2256774" cy="480131"/>
            </a:xfrm>
            <a:prstGeom prst="rect">
              <a:avLst/>
            </a:prstGeom>
            <a:noFill/>
          </p:spPr>
          <p:txBody>
            <a:bodyPr wrap="square">
              <a:spAutoFit/>
            </a:bodyPr>
            <a:lstStyle/>
            <a:p>
              <a:pPr marL="0" indent="0" algn="ctr">
                <a:buNone/>
              </a:pPr>
              <a:r>
                <a:rPr lang="nl-NL" b="1" dirty="0">
                  <a:solidFill>
                    <a:schemeClr val="tx1"/>
                  </a:solidFill>
                </a:rPr>
                <a:t>Algemene </a:t>
              </a:r>
              <a:br>
                <a:rPr lang="nl-NL" b="1" dirty="0">
                  <a:solidFill>
                    <a:schemeClr val="tx1"/>
                  </a:solidFill>
                </a:rPr>
              </a:br>
              <a:r>
                <a:rPr lang="nl-NL" b="1" dirty="0">
                  <a:solidFill>
                    <a:schemeClr val="tx1"/>
                  </a:solidFill>
                </a:rPr>
                <a:t>uitkering</a:t>
              </a:r>
            </a:p>
          </p:txBody>
        </p:sp>
      </p:grpSp>
      <p:sp>
        <p:nvSpPr>
          <p:cNvPr id="48" name="Arc 47">
            <a:extLst>
              <a:ext uri="{FF2B5EF4-FFF2-40B4-BE49-F238E27FC236}">
                <a16:creationId xmlns:a16="http://schemas.microsoft.com/office/drawing/2014/main" id="{E3567492-2DF1-4A6E-94AB-AEF3BFC65A98}"/>
              </a:ext>
            </a:extLst>
          </p:cNvPr>
          <p:cNvSpPr/>
          <p:nvPr/>
        </p:nvSpPr>
        <p:spPr>
          <a:xfrm rot="8212054">
            <a:off x="4039333" y="3476740"/>
            <a:ext cx="801512" cy="816750"/>
          </a:xfrm>
          <a:prstGeom prst="arc">
            <a:avLst>
              <a:gd name="adj1" fmla="val 15929752"/>
              <a:gd name="adj2" fmla="val 0"/>
            </a:avLst>
          </a:prstGeom>
          <a:ln w="28575">
            <a:solidFill>
              <a:srgbClr val="22777B"/>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49" name="TextBox 48">
            <a:extLst>
              <a:ext uri="{FF2B5EF4-FFF2-40B4-BE49-F238E27FC236}">
                <a16:creationId xmlns:a16="http://schemas.microsoft.com/office/drawing/2014/main" id="{6EDC2B4A-F361-48FB-9C50-07A6BAE17714}"/>
              </a:ext>
            </a:extLst>
          </p:cNvPr>
          <p:cNvSpPr txBox="1"/>
          <p:nvPr/>
        </p:nvSpPr>
        <p:spPr>
          <a:xfrm>
            <a:off x="3860245" y="4314979"/>
            <a:ext cx="1160622" cy="424732"/>
          </a:xfrm>
          <a:prstGeom prst="rect">
            <a:avLst/>
          </a:prstGeom>
          <a:noFill/>
        </p:spPr>
        <p:txBody>
          <a:bodyPr wrap="square">
            <a:spAutoFit/>
          </a:bodyPr>
          <a:lstStyle/>
          <a:p>
            <a:pPr marL="0" indent="0" algn="ctr">
              <a:buNone/>
            </a:pPr>
            <a:r>
              <a:rPr lang="nl-NL" sz="1200" b="1" dirty="0"/>
              <a:t>Uitkerings-</a:t>
            </a:r>
            <a:br>
              <a:rPr lang="nl-NL" sz="1200" b="1" dirty="0"/>
            </a:br>
            <a:r>
              <a:rPr lang="nl-NL" sz="1200" b="1" dirty="0"/>
              <a:t>factor</a:t>
            </a:r>
          </a:p>
        </p:txBody>
      </p:sp>
      <p:sp>
        <p:nvSpPr>
          <p:cNvPr id="6" name="Text Placeholder 5">
            <a:extLst>
              <a:ext uri="{FF2B5EF4-FFF2-40B4-BE49-F238E27FC236}">
                <a16:creationId xmlns:a16="http://schemas.microsoft.com/office/drawing/2014/main" id="{DDF5FCA7-F66C-493B-986C-A78771903C56}"/>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4FEFA37D-DB95-4B20-95E0-D0DFC1E1B0FB}"/>
              </a:ext>
            </a:extLst>
          </p:cNvPr>
          <p:cNvSpPr>
            <a:spLocks noGrp="1"/>
          </p:cNvSpPr>
          <p:nvPr>
            <p:ph type="title"/>
          </p:nvPr>
        </p:nvSpPr>
        <p:spPr/>
        <p:txBody>
          <a:bodyPr vert="horz"/>
          <a:lstStyle/>
          <a:p>
            <a:r>
              <a:rPr lang="nl-NL" dirty="0"/>
              <a:t>Het aandeel dat een gemeente uit het totaal fonds ontvangt is afhankelijk van ongeveer 80 maatstaven</a:t>
            </a:r>
          </a:p>
        </p:txBody>
      </p:sp>
      <p:sp>
        <p:nvSpPr>
          <p:cNvPr id="18" name="Rectangle 17">
            <a:extLst>
              <a:ext uri="{FF2B5EF4-FFF2-40B4-BE49-F238E27FC236}">
                <a16:creationId xmlns:a16="http://schemas.microsoft.com/office/drawing/2014/main" id="{5684D575-A6E2-4F7A-AC84-1994F9B34A0C}"/>
              </a:ext>
            </a:extLst>
          </p:cNvPr>
          <p:cNvSpPr/>
          <p:nvPr/>
        </p:nvSpPr>
        <p:spPr>
          <a:xfrm>
            <a:off x="755453" y="2156399"/>
            <a:ext cx="4183570" cy="4002833"/>
          </a:xfrm>
          <a:prstGeom prst="rect">
            <a:avLst/>
          </a:prstGeom>
          <a:solidFill>
            <a:srgbClr val="FFFFFF">
              <a:alpha val="69804"/>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5" name="TextBox 24">
            <a:extLst>
              <a:ext uri="{FF2B5EF4-FFF2-40B4-BE49-F238E27FC236}">
                <a16:creationId xmlns:a16="http://schemas.microsoft.com/office/drawing/2014/main" id="{B825B093-48AD-4EBB-9FCA-50F1E70E265F}"/>
              </a:ext>
            </a:extLst>
          </p:cNvPr>
          <p:cNvSpPr txBox="1"/>
          <p:nvPr/>
        </p:nvSpPr>
        <p:spPr>
          <a:xfrm>
            <a:off x="1947406" y="4161960"/>
            <a:ext cx="2045936" cy="480130"/>
          </a:xfrm>
          <a:prstGeom prst="rect">
            <a:avLst/>
          </a:prstGeom>
          <a:noFill/>
        </p:spPr>
        <p:txBody>
          <a:bodyPr wrap="square">
            <a:spAutoFit/>
          </a:bodyPr>
          <a:lstStyle/>
          <a:p>
            <a:pPr marL="0" indent="0" algn="ctr">
              <a:buNone/>
            </a:pPr>
            <a:r>
              <a:rPr lang="nl-NL" b="1" dirty="0"/>
              <a:t>Verdeelmodel </a:t>
            </a:r>
            <a:br>
              <a:rPr lang="nl-NL" b="1" dirty="0"/>
            </a:br>
            <a:r>
              <a:rPr lang="nl-NL" b="1" dirty="0"/>
              <a:t>(werklast)</a:t>
            </a:r>
          </a:p>
        </p:txBody>
      </p:sp>
      <p:cxnSp>
        <p:nvCxnSpPr>
          <p:cNvPr id="33" name="Straight Connector 32">
            <a:extLst>
              <a:ext uri="{FF2B5EF4-FFF2-40B4-BE49-F238E27FC236}">
                <a16:creationId xmlns:a16="http://schemas.microsoft.com/office/drawing/2014/main" id="{BF972831-4BDA-4CDF-9281-88E58C006C2B}"/>
              </a:ext>
            </a:extLst>
          </p:cNvPr>
          <p:cNvCxnSpPr>
            <a:cxnSpLocks/>
          </p:cNvCxnSpPr>
          <p:nvPr/>
        </p:nvCxnSpPr>
        <p:spPr>
          <a:xfrm>
            <a:off x="2933099" y="3021771"/>
            <a:ext cx="0" cy="1149010"/>
          </a:xfrm>
          <a:prstGeom prst="line">
            <a:avLst/>
          </a:prstGeom>
          <a:ln w="28575" cmpd="sng">
            <a:solidFill>
              <a:srgbClr val="22777B"/>
            </a:solidFill>
            <a:prstDash val="soli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6A687FB-52C1-44AE-A4B1-F1E668BEF6D4}"/>
              </a:ext>
            </a:extLst>
          </p:cNvPr>
          <p:cNvCxnSpPr>
            <a:cxnSpLocks/>
          </p:cNvCxnSpPr>
          <p:nvPr/>
        </p:nvCxnSpPr>
        <p:spPr>
          <a:xfrm flipH="1">
            <a:off x="2942385" y="3144416"/>
            <a:ext cx="528603" cy="1010956"/>
          </a:xfrm>
          <a:prstGeom prst="line">
            <a:avLst/>
          </a:prstGeom>
          <a:ln w="28575" cmpd="sng">
            <a:solidFill>
              <a:srgbClr val="22777B"/>
            </a:soli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C362E63-9992-404D-B28A-5129E5AD58D1}"/>
              </a:ext>
            </a:extLst>
          </p:cNvPr>
          <p:cNvCxnSpPr>
            <a:cxnSpLocks/>
          </p:cNvCxnSpPr>
          <p:nvPr/>
        </p:nvCxnSpPr>
        <p:spPr>
          <a:xfrm flipH="1">
            <a:off x="3443190" y="2484356"/>
            <a:ext cx="373175" cy="714460"/>
          </a:xfrm>
          <a:prstGeom prst="line">
            <a:avLst/>
          </a:prstGeom>
          <a:ln w="28575">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079F3AB-0BBF-4E27-BAF0-89171B635C12}"/>
              </a:ext>
            </a:extLst>
          </p:cNvPr>
          <p:cNvCxnSpPr>
            <a:cxnSpLocks/>
          </p:cNvCxnSpPr>
          <p:nvPr/>
        </p:nvCxnSpPr>
        <p:spPr>
          <a:xfrm>
            <a:off x="2933099" y="2267351"/>
            <a:ext cx="0" cy="1109747"/>
          </a:xfrm>
          <a:prstGeom prst="line">
            <a:avLst/>
          </a:prstGeom>
          <a:ln w="28575" cmpd="sng">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7B315E6-E209-4FC6-8972-1F0FA6C04B09}"/>
              </a:ext>
            </a:extLst>
          </p:cNvPr>
          <p:cNvSpPr txBox="1"/>
          <p:nvPr/>
        </p:nvSpPr>
        <p:spPr>
          <a:xfrm>
            <a:off x="4449295" y="3014388"/>
            <a:ext cx="1304956" cy="345098"/>
          </a:xfrm>
          <a:prstGeom prst="rect">
            <a:avLst/>
          </a:prstGeom>
        </p:spPr>
        <p:txBody>
          <a:bodyPr vert="horz" wrap="square" lIns="91440" tIns="45720" rIns="91440" bIns="45720" rtlCol="0">
            <a:noAutofit/>
          </a:bodyPr>
          <a:lstStyle/>
          <a:p>
            <a:pPr marL="0" indent="0" algn="ctr">
              <a:buNone/>
            </a:pPr>
            <a:r>
              <a:rPr lang="nl-NL" sz="1200" b="1" dirty="0"/>
              <a:t>Verdelings-ontwikkeling</a:t>
            </a:r>
          </a:p>
          <a:p>
            <a:pPr marL="0" indent="0" algn="ctr">
              <a:buNone/>
            </a:pPr>
            <a:r>
              <a:rPr lang="nl-NL" sz="1200" b="1" dirty="0"/>
              <a:t>     </a:t>
            </a:r>
          </a:p>
        </p:txBody>
      </p:sp>
      <p:sp>
        <p:nvSpPr>
          <p:cNvPr id="40" name="Flowchart: Connector 39">
            <a:extLst>
              <a:ext uri="{FF2B5EF4-FFF2-40B4-BE49-F238E27FC236}">
                <a16:creationId xmlns:a16="http://schemas.microsoft.com/office/drawing/2014/main" id="{40B3BF27-4E6D-4D2F-A090-CD8BA1F5D668}"/>
              </a:ext>
            </a:extLst>
          </p:cNvPr>
          <p:cNvSpPr/>
          <p:nvPr/>
        </p:nvSpPr>
        <p:spPr>
          <a:xfrm>
            <a:off x="4989779" y="2754788"/>
            <a:ext cx="223988" cy="223988"/>
          </a:xfrm>
          <a:prstGeom prst="flowChartConnector">
            <a:avLst/>
          </a:prstGeom>
          <a:solidFill>
            <a:srgbClr val="FFBD42"/>
          </a:solidFill>
          <a:ln w="19050" cap="flat">
            <a:noFill/>
            <a:prstDash val="solid"/>
            <a:miter/>
          </a:ln>
          <a:extLst>
            <a:ext uri="{91240B29-F687-4F45-9708-019B960494DF}">
              <a14:hiddenLine xmlns:a14="http://schemas.microsoft.com/office/drawing/2010/main" w="19050" cap="flat">
                <a:solidFill>
                  <a:schemeClr val="tx1"/>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4</a:t>
            </a:r>
          </a:p>
        </p:txBody>
      </p:sp>
      <p:sp>
        <p:nvSpPr>
          <p:cNvPr id="41" name="Freeform: Shape 40">
            <a:extLst>
              <a:ext uri="{FF2B5EF4-FFF2-40B4-BE49-F238E27FC236}">
                <a16:creationId xmlns:a16="http://schemas.microsoft.com/office/drawing/2014/main" id="{033978A8-B42C-49DF-8FC0-3FEE8F15C3FE}"/>
              </a:ext>
            </a:extLst>
          </p:cNvPr>
          <p:cNvSpPr/>
          <p:nvPr/>
        </p:nvSpPr>
        <p:spPr>
          <a:xfrm rot="120000">
            <a:off x="3085700" y="3247620"/>
            <a:ext cx="525101" cy="244443"/>
          </a:xfrm>
          <a:custGeom>
            <a:avLst/>
            <a:gdLst>
              <a:gd name="connsiteX0" fmla="*/ 0 w 525101"/>
              <a:gd name="connsiteY0" fmla="*/ 0 h 244443"/>
              <a:gd name="connsiteX1" fmla="*/ 298764 w 525101"/>
              <a:gd name="connsiteY1" fmla="*/ 90534 h 244443"/>
              <a:gd name="connsiteX2" fmla="*/ 525101 w 525101"/>
              <a:gd name="connsiteY2" fmla="*/ 244443 h 244443"/>
            </a:gdLst>
            <a:ahLst/>
            <a:cxnLst>
              <a:cxn ang="0">
                <a:pos x="connsiteX0" y="connsiteY0"/>
              </a:cxn>
              <a:cxn ang="0">
                <a:pos x="connsiteX1" y="connsiteY1"/>
              </a:cxn>
              <a:cxn ang="0">
                <a:pos x="connsiteX2" y="connsiteY2"/>
              </a:cxn>
            </a:cxnLst>
            <a:rect l="l" t="t" r="r" b="b"/>
            <a:pathLst>
              <a:path w="525101" h="244443">
                <a:moveTo>
                  <a:pt x="0" y="0"/>
                </a:moveTo>
                <a:cubicBezTo>
                  <a:pt x="105623" y="24897"/>
                  <a:pt x="211247" y="49794"/>
                  <a:pt x="298764" y="90534"/>
                </a:cubicBezTo>
                <a:cubicBezTo>
                  <a:pt x="386281" y="131275"/>
                  <a:pt x="455691" y="187859"/>
                  <a:pt x="525101" y="244443"/>
                </a:cubicBezTo>
              </a:path>
            </a:pathLst>
          </a:custGeom>
          <a:noFill/>
          <a:ln w="50800" cap="flat">
            <a:solidFill>
              <a:srgbClr val="FFBD42"/>
            </a:solidFill>
            <a:prstDash val="solid"/>
            <a:miter/>
            <a:headEnd type="triangle" w="med" len="med"/>
            <a:tailEnd type="triangle" w="med" len="med"/>
          </a:ln>
        </p:spPr>
        <p:txBody>
          <a:bodyPr rtlCol="0" anchor="ctr"/>
          <a:lstStyle/>
          <a:p>
            <a:pPr algn="ctr"/>
            <a:endParaRPr lang="nl-NL" dirty="0"/>
          </a:p>
        </p:txBody>
      </p:sp>
      <p:sp>
        <p:nvSpPr>
          <p:cNvPr id="42" name="Freeform: Shape 41">
            <a:extLst>
              <a:ext uri="{FF2B5EF4-FFF2-40B4-BE49-F238E27FC236}">
                <a16:creationId xmlns:a16="http://schemas.microsoft.com/office/drawing/2014/main" id="{7ECC314F-D07C-4E6F-B08F-ED43D15DD5CF}"/>
              </a:ext>
            </a:extLst>
          </p:cNvPr>
          <p:cNvSpPr/>
          <p:nvPr/>
        </p:nvSpPr>
        <p:spPr>
          <a:xfrm rot="3632939" flipH="1">
            <a:off x="3928114" y="2453941"/>
            <a:ext cx="444812" cy="1227653"/>
          </a:xfrm>
          <a:custGeom>
            <a:avLst/>
            <a:gdLst>
              <a:gd name="connsiteX0" fmla="*/ 0 w 300133"/>
              <a:gd name="connsiteY0" fmla="*/ 0 h 488272"/>
              <a:gd name="connsiteX1" fmla="*/ 284085 w 300133"/>
              <a:gd name="connsiteY1" fmla="*/ 195308 h 488272"/>
              <a:gd name="connsiteX2" fmla="*/ 239697 w 300133"/>
              <a:gd name="connsiteY2" fmla="*/ 488272 h 488272"/>
              <a:gd name="connsiteX0" fmla="*/ 0 w 285037"/>
              <a:gd name="connsiteY0" fmla="*/ 0 h 494943"/>
              <a:gd name="connsiteX1" fmla="*/ 268989 w 285037"/>
              <a:gd name="connsiteY1" fmla="*/ 201979 h 494943"/>
              <a:gd name="connsiteX2" fmla="*/ 224601 w 285037"/>
              <a:gd name="connsiteY2" fmla="*/ 494943 h 494943"/>
              <a:gd name="connsiteX0" fmla="*/ 0 w 285037"/>
              <a:gd name="connsiteY0" fmla="*/ 0 h 494943"/>
              <a:gd name="connsiteX1" fmla="*/ 268989 w 285037"/>
              <a:gd name="connsiteY1" fmla="*/ 208652 h 494943"/>
              <a:gd name="connsiteX2" fmla="*/ 224601 w 285037"/>
              <a:gd name="connsiteY2" fmla="*/ 494943 h 494943"/>
              <a:gd name="connsiteX0" fmla="*/ 0 w 288537"/>
              <a:gd name="connsiteY0" fmla="*/ 0 h 501616"/>
              <a:gd name="connsiteX1" fmla="*/ 268989 w 288537"/>
              <a:gd name="connsiteY1" fmla="*/ 208652 h 501616"/>
              <a:gd name="connsiteX2" fmla="*/ 239697 w 288537"/>
              <a:gd name="connsiteY2" fmla="*/ 501616 h 501616"/>
            </a:gdLst>
            <a:ahLst/>
            <a:cxnLst>
              <a:cxn ang="0">
                <a:pos x="connsiteX0" y="connsiteY0"/>
              </a:cxn>
              <a:cxn ang="0">
                <a:pos x="connsiteX1" y="connsiteY1"/>
              </a:cxn>
              <a:cxn ang="0">
                <a:pos x="connsiteX2" y="connsiteY2"/>
              </a:cxn>
            </a:cxnLst>
            <a:rect l="l" t="t" r="r" b="b"/>
            <a:pathLst>
              <a:path w="288537" h="501616">
                <a:moveTo>
                  <a:pt x="0" y="0"/>
                </a:moveTo>
                <a:cubicBezTo>
                  <a:pt x="122067" y="56964"/>
                  <a:pt x="229039" y="127273"/>
                  <a:pt x="268989" y="208652"/>
                </a:cubicBezTo>
                <a:cubicBezTo>
                  <a:pt x="308939" y="290031"/>
                  <a:pt x="281866" y="395823"/>
                  <a:pt x="239697" y="501616"/>
                </a:cubicBezTo>
              </a:path>
            </a:pathLst>
          </a:custGeom>
          <a:noFill/>
          <a:ln w="19050" cap="flat">
            <a:solidFill>
              <a:srgbClr val="FFC000"/>
            </a:solidFill>
            <a:prstDash val="solid"/>
            <a:miter/>
            <a:headEnd type="none" w="med" len="med"/>
            <a:tailEnd type="triangle" w="med" len="med"/>
          </a:ln>
        </p:spPr>
        <p:txBody>
          <a:bodyPr rtlCol="0" anchor="ctr"/>
          <a:lstStyle/>
          <a:p>
            <a:pPr algn="ctr"/>
            <a:endParaRPr lang="nl-NL" dirty="0"/>
          </a:p>
        </p:txBody>
      </p:sp>
      <p:sp>
        <p:nvSpPr>
          <p:cNvPr id="43" name="Content Placeholder 29">
            <a:extLst>
              <a:ext uri="{FF2B5EF4-FFF2-40B4-BE49-F238E27FC236}">
                <a16:creationId xmlns:a16="http://schemas.microsoft.com/office/drawing/2014/main" id="{3C8B4970-1787-4792-9701-47E37401C194}"/>
              </a:ext>
            </a:extLst>
          </p:cNvPr>
          <p:cNvSpPr txBox="1">
            <a:spLocks/>
          </p:cNvSpPr>
          <p:nvPr/>
        </p:nvSpPr>
        <p:spPr>
          <a:xfrm>
            <a:off x="6096000" y="2696850"/>
            <a:ext cx="5420780" cy="3040470"/>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1200"/>
              </a:spcBef>
              <a:buNone/>
            </a:pPr>
            <a:r>
              <a:rPr lang="nl-NL" b="1" dirty="0"/>
              <a:t>Verdelingsontwikkeling: </a:t>
            </a:r>
            <a:r>
              <a:rPr lang="nl-NL" dirty="0"/>
              <a:t>Naast de </a:t>
            </a:r>
            <a:r>
              <a:rPr lang="nl-NL" i="1" dirty="0"/>
              <a:t>omvang </a:t>
            </a:r>
            <a:r>
              <a:rPr lang="nl-NL" dirty="0"/>
              <a:t>van werklast, kan ook de </a:t>
            </a:r>
            <a:r>
              <a:rPr lang="nl-NL" i="1" dirty="0"/>
              <a:t>verdeling </a:t>
            </a:r>
            <a:r>
              <a:rPr lang="nl-NL" dirty="0"/>
              <a:t>van werklast</a:t>
            </a:r>
            <a:r>
              <a:rPr lang="nl-NL" i="1" dirty="0"/>
              <a:t> </a:t>
            </a:r>
            <a:r>
              <a:rPr lang="nl-NL" dirty="0"/>
              <a:t>tussen gemeenten zich ontwikkelen. Deze verschuiving van gemeentelijk werk kan significante effecten hebben op het uitkeringsbedrag van individuele gemeenten, maar laat de landelijke omvang van werklast en algemene uitkering ongemoeid.</a:t>
            </a:r>
          </a:p>
          <a:p>
            <a:pPr marL="0" indent="0">
              <a:spcBef>
                <a:spcPts val="1200"/>
              </a:spcBef>
              <a:buNone/>
            </a:pPr>
            <a:r>
              <a:rPr lang="nl-NL" sz="1400" i="1" dirty="0"/>
              <a:t>Voorbeeld: </a:t>
            </a:r>
            <a:r>
              <a:rPr lang="nl-NL" sz="1400" dirty="0"/>
              <a:t>Door hoge huizenprijzen verhuizen veel inwoners met sterke behoefte aan sociale voorzieningen vanuit de G4 naar buurtgemeenten. Het aandeel van G4-gemeenten in het de fondsverdeling daalt, en daarmee daalt de hoogte van hun gemeentefondsbijdrage relatief t.o.v. buurtgemeenten.</a:t>
            </a:r>
          </a:p>
        </p:txBody>
      </p:sp>
      <p:sp>
        <p:nvSpPr>
          <p:cNvPr id="44" name="Flowchart: Connector 43">
            <a:extLst>
              <a:ext uri="{FF2B5EF4-FFF2-40B4-BE49-F238E27FC236}">
                <a16:creationId xmlns:a16="http://schemas.microsoft.com/office/drawing/2014/main" id="{CAC40E85-8493-4413-8F06-D3547619F702}"/>
              </a:ext>
            </a:extLst>
          </p:cNvPr>
          <p:cNvSpPr/>
          <p:nvPr/>
        </p:nvSpPr>
        <p:spPr>
          <a:xfrm>
            <a:off x="5870555" y="2756020"/>
            <a:ext cx="223988" cy="223988"/>
          </a:xfrm>
          <a:prstGeom prst="flowChartConnector">
            <a:avLst/>
          </a:prstGeom>
          <a:solidFill>
            <a:srgbClr val="FFBD42"/>
          </a:solidFill>
          <a:ln w="19050" cap="flat">
            <a:noFill/>
            <a:prstDash val="solid"/>
            <a:miter/>
          </a:ln>
          <a:extLst>
            <a:ext uri="{91240B29-F687-4F45-9708-019B960494DF}">
              <a14:hiddenLine xmlns:a14="http://schemas.microsoft.com/office/drawing/2010/main" w="19050" cap="flat">
                <a:solidFill>
                  <a:schemeClr val="tx1"/>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4</a:t>
            </a:r>
          </a:p>
        </p:txBody>
      </p:sp>
      <p:sp>
        <p:nvSpPr>
          <p:cNvPr id="47" name="Slide Number Placeholder 9">
            <a:extLst>
              <a:ext uri="{FF2B5EF4-FFF2-40B4-BE49-F238E27FC236}">
                <a16:creationId xmlns:a16="http://schemas.microsoft.com/office/drawing/2014/main" id="{32C89C3E-3409-4774-9F4E-3F13E42BDA7C}"/>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10</a:t>
            </a:fld>
            <a:endParaRPr lang="nl-NL" noProof="0" dirty="0"/>
          </a:p>
        </p:txBody>
      </p:sp>
    </p:spTree>
    <p:extLst>
      <p:ext uri="{BB962C8B-B14F-4D97-AF65-F5344CB8AC3E}">
        <p14:creationId xmlns:p14="http://schemas.microsoft.com/office/powerpoint/2010/main" val="14631991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614DCF7-03DC-44B2-86CA-DC6D3F06AB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4"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6614DCF7-03DC-44B2-86CA-DC6D3F06AB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Rounded Corners 30">
            <a:extLst>
              <a:ext uri="{FF2B5EF4-FFF2-40B4-BE49-F238E27FC236}">
                <a16:creationId xmlns:a16="http://schemas.microsoft.com/office/drawing/2014/main" id="{EBD16ECC-13B3-4EC9-9B53-FBA1F5D58B11}"/>
              </a:ext>
            </a:extLst>
          </p:cNvPr>
          <p:cNvSpPr/>
          <p:nvPr/>
        </p:nvSpPr>
        <p:spPr>
          <a:xfrm>
            <a:off x="6409508" y="2880602"/>
            <a:ext cx="3123999" cy="2560320"/>
          </a:xfrm>
          <a:prstGeom prst="roundRect">
            <a:avLst>
              <a:gd name="adj" fmla="val 4781"/>
            </a:avLst>
          </a:prstGeom>
          <a:no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dirty="0"/>
          </a:p>
        </p:txBody>
      </p:sp>
      <p:sp>
        <p:nvSpPr>
          <p:cNvPr id="27" name="Rectangle: Rounded Corners 26">
            <a:extLst>
              <a:ext uri="{FF2B5EF4-FFF2-40B4-BE49-F238E27FC236}">
                <a16:creationId xmlns:a16="http://schemas.microsoft.com/office/drawing/2014/main" id="{30F51758-EA96-46D4-805F-B8220C3C1EE1}"/>
              </a:ext>
            </a:extLst>
          </p:cNvPr>
          <p:cNvSpPr/>
          <p:nvPr/>
        </p:nvSpPr>
        <p:spPr>
          <a:xfrm>
            <a:off x="1049199" y="2877820"/>
            <a:ext cx="3123999" cy="2560320"/>
          </a:xfrm>
          <a:prstGeom prst="roundRect">
            <a:avLst>
              <a:gd name="adj" fmla="val 4781"/>
            </a:avLst>
          </a:prstGeom>
          <a:no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dirty="0"/>
          </a:p>
        </p:txBody>
      </p:sp>
      <p:sp>
        <p:nvSpPr>
          <p:cNvPr id="4" name="Text Placeholder 3">
            <a:extLst>
              <a:ext uri="{FF2B5EF4-FFF2-40B4-BE49-F238E27FC236}">
                <a16:creationId xmlns:a16="http://schemas.microsoft.com/office/drawing/2014/main" id="{C70E576D-CC46-4329-88A8-1CBB49A4D767}"/>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6885BB25-A0F3-496E-B395-2E67B55741D4}"/>
              </a:ext>
            </a:extLst>
          </p:cNvPr>
          <p:cNvSpPr>
            <a:spLocks noGrp="1"/>
          </p:cNvSpPr>
          <p:nvPr>
            <p:ph type="title"/>
          </p:nvPr>
        </p:nvSpPr>
        <p:spPr/>
        <p:txBody>
          <a:bodyPr vert="horz"/>
          <a:lstStyle/>
          <a:p>
            <a:br>
              <a:rPr lang="nl-NL" dirty="0"/>
            </a:br>
            <a:br>
              <a:rPr lang="nl-NL" dirty="0"/>
            </a:br>
            <a:br>
              <a:rPr lang="nl-NL" dirty="0"/>
            </a:br>
            <a:br>
              <a:rPr lang="nl-NL" dirty="0"/>
            </a:br>
            <a:r>
              <a:rPr lang="nl-NL" dirty="0">
                <a:solidFill>
                  <a:schemeClr val="tx1"/>
                </a:solidFill>
              </a:rPr>
              <a:t>Bijlage 1</a:t>
            </a:r>
            <a:br>
              <a:rPr lang="nl-NL" dirty="0"/>
            </a:br>
            <a:r>
              <a:rPr lang="nl-NL" dirty="0"/>
              <a:t>Overzicht van gemeentelijke inkomstenbronnen</a:t>
            </a:r>
          </a:p>
        </p:txBody>
      </p:sp>
      <p:sp>
        <p:nvSpPr>
          <p:cNvPr id="9" name="TextBox 8">
            <a:extLst>
              <a:ext uri="{FF2B5EF4-FFF2-40B4-BE49-F238E27FC236}">
                <a16:creationId xmlns:a16="http://schemas.microsoft.com/office/drawing/2014/main" id="{F967FE77-A2DB-4B54-91A5-B7C49829FA6B}"/>
              </a:ext>
            </a:extLst>
          </p:cNvPr>
          <p:cNvSpPr txBox="1"/>
          <p:nvPr/>
        </p:nvSpPr>
        <p:spPr>
          <a:xfrm flipV="1">
            <a:off x="6564558" y="3063398"/>
            <a:ext cx="934720" cy="158801"/>
          </a:xfrm>
          <a:prstGeom prst="rect">
            <a:avLst/>
          </a:prstGeom>
        </p:spPr>
        <p:txBody>
          <a:bodyPr vert="horz" wrap="square" lIns="91440" tIns="45720" rIns="91440" bIns="45720" rtlCol="0">
            <a:noAutofit/>
          </a:bodyPr>
          <a:lstStyle/>
          <a:p>
            <a:pPr algn="l"/>
            <a:endParaRPr lang="nl-NL" noProof="0" dirty="0"/>
          </a:p>
        </p:txBody>
      </p:sp>
      <p:sp>
        <p:nvSpPr>
          <p:cNvPr id="10" name="TextBox 9">
            <a:extLst>
              <a:ext uri="{FF2B5EF4-FFF2-40B4-BE49-F238E27FC236}">
                <a16:creationId xmlns:a16="http://schemas.microsoft.com/office/drawing/2014/main" id="{412E92B3-D5DF-480E-B81D-8663941DC4C4}"/>
              </a:ext>
            </a:extLst>
          </p:cNvPr>
          <p:cNvSpPr txBox="1"/>
          <p:nvPr/>
        </p:nvSpPr>
        <p:spPr>
          <a:xfrm>
            <a:off x="6447889" y="2910656"/>
            <a:ext cx="2143227" cy="158802"/>
          </a:xfrm>
          <a:prstGeom prst="rect">
            <a:avLst/>
          </a:prstGeom>
        </p:spPr>
        <p:txBody>
          <a:bodyPr vert="horz" wrap="square" lIns="91440" tIns="45720" rIns="91440" bIns="45720" rtlCol="0">
            <a:noAutofit/>
          </a:bodyPr>
          <a:lstStyle/>
          <a:p>
            <a:pPr marL="0" indent="0" algn="l">
              <a:buNone/>
            </a:pPr>
            <a:r>
              <a:rPr lang="nl-NL" sz="1600" noProof="0" dirty="0"/>
              <a:t>Lokaal belasting</a:t>
            </a:r>
            <a:r>
              <a:rPr lang="nl-NL" sz="1600" dirty="0"/>
              <a:t>geld</a:t>
            </a:r>
            <a:endParaRPr lang="nl-NL" sz="1600" noProof="0" dirty="0"/>
          </a:p>
        </p:txBody>
      </p:sp>
      <p:sp>
        <p:nvSpPr>
          <p:cNvPr id="23" name="TextBox 22">
            <a:extLst>
              <a:ext uri="{FF2B5EF4-FFF2-40B4-BE49-F238E27FC236}">
                <a16:creationId xmlns:a16="http://schemas.microsoft.com/office/drawing/2014/main" id="{E87ADF18-07DF-4580-9ABE-507E28B7064C}"/>
              </a:ext>
            </a:extLst>
          </p:cNvPr>
          <p:cNvSpPr txBox="1"/>
          <p:nvPr/>
        </p:nvSpPr>
        <p:spPr>
          <a:xfrm>
            <a:off x="1087578" y="2900059"/>
            <a:ext cx="1751341" cy="126597"/>
          </a:xfrm>
          <a:prstGeom prst="rect">
            <a:avLst/>
          </a:prstGeom>
        </p:spPr>
        <p:txBody>
          <a:bodyPr vert="horz" wrap="square" lIns="91440" tIns="45720" rIns="91440" bIns="45720" rtlCol="0">
            <a:noAutofit/>
          </a:bodyPr>
          <a:lstStyle/>
          <a:p>
            <a:pPr marL="0" indent="0" algn="l">
              <a:buNone/>
            </a:pPr>
            <a:r>
              <a:rPr lang="nl-NL" sz="1600" noProof="0" dirty="0"/>
              <a:t>Gemeentefonds</a:t>
            </a:r>
          </a:p>
        </p:txBody>
      </p:sp>
      <p:sp>
        <p:nvSpPr>
          <p:cNvPr id="11" name="TextBox 10">
            <a:extLst>
              <a:ext uri="{FF2B5EF4-FFF2-40B4-BE49-F238E27FC236}">
                <a16:creationId xmlns:a16="http://schemas.microsoft.com/office/drawing/2014/main" id="{50ED6A01-A90F-447F-BF7B-046898980429}"/>
              </a:ext>
            </a:extLst>
          </p:cNvPr>
          <p:cNvSpPr txBox="1"/>
          <p:nvPr/>
        </p:nvSpPr>
        <p:spPr>
          <a:xfrm>
            <a:off x="6312718" y="2346909"/>
            <a:ext cx="3413286" cy="348318"/>
          </a:xfrm>
          <a:prstGeom prst="rect">
            <a:avLst/>
          </a:prstGeom>
        </p:spPr>
        <p:txBody>
          <a:bodyPr vert="horz" wrap="square" lIns="91440" tIns="45720" rIns="91440" bIns="45720" rtlCol="0">
            <a:noAutofit/>
          </a:bodyPr>
          <a:lstStyle/>
          <a:p>
            <a:pPr marL="0" indent="0" algn="l">
              <a:buNone/>
            </a:pPr>
            <a:r>
              <a:rPr lang="nl-NL" sz="1600" b="1" dirty="0"/>
              <a:t>Eigen inkomsten (ca. 40% begroting)</a:t>
            </a:r>
            <a:endParaRPr lang="nl-NL" sz="1600" b="1" noProof="0" dirty="0"/>
          </a:p>
        </p:txBody>
      </p:sp>
      <p:sp>
        <p:nvSpPr>
          <p:cNvPr id="25" name="TextBox 24">
            <a:extLst>
              <a:ext uri="{FF2B5EF4-FFF2-40B4-BE49-F238E27FC236}">
                <a16:creationId xmlns:a16="http://schemas.microsoft.com/office/drawing/2014/main" id="{F532CFBB-10A0-41A8-90D4-C1C45D016332}"/>
              </a:ext>
            </a:extLst>
          </p:cNvPr>
          <p:cNvSpPr txBox="1"/>
          <p:nvPr/>
        </p:nvSpPr>
        <p:spPr>
          <a:xfrm>
            <a:off x="976295" y="2362986"/>
            <a:ext cx="3622663" cy="348318"/>
          </a:xfrm>
          <a:prstGeom prst="rect">
            <a:avLst/>
          </a:prstGeom>
        </p:spPr>
        <p:txBody>
          <a:bodyPr vert="horz" wrap="square" lIns="91440" tIns="45720" rIns="91440" bIns="45720" rtlCol="0">
            <a:noAutofit/>
          </a:bodyPr>
          <a:lstStyle/>
          <a:p>
            <a:pPr marL="0" indent="0" algn="l">
              <a:buNone/>
            </a:pPr>
            <a:r>
              <a:rPr lang="nl-NL" sz="1600" b="1" dirty="0"/>
              <a:t>Rijksbijdragen (ca. 60% begroting)</a:t>
            </a:r>
            <a:endParaRPr lang="nl-NL" sz="1600" b="1" noProof="0" dirty="0"/>
          </a:p>
        </p:txBody>
      </p:sp>
      <p:sp>
        <p:nvSpPr>
          <p:cNvPr id="36" name="Rectangle: Rounded Corners 35">
            <a:extLst>
              <a:ext uri="{FF2B5EF4-FFF2-40B4-BE49-F238E27FC236}">
                <a16:creationId xmlns:a16="http://schemas.microsoft.com/office/drawing/2014/main" id="{0464267D-CD4B-42F9-B812-4E74782CE5E1}"/>
              </a:ext>
            </a:extLst>
          </p:cNvPr>
          <p:cNvSpPr/>
          <p:nvPr/>
        </p:nvSpPr>
        <p:spPr>
          <a:xfrm>
            <a:off x="6520871" y="3371729"/>
            <a:ext cx="1385678" cy="870829"/>
          </a:xfrm>
          <a:prstGeom prst="roundRect">
            <a:avLst>
              <a:gd name="adj" fmla="val 4781"/>
            </a:avLst>
          </a:prstGeom>
          <a:solidFill>
            <a:srgbClr val="DBDBDB"/>
          </a:solidFill>
          <a:ln w="19050" cap="flat">
            <a:solidFill>
              <a:srgbClr val="DBDBD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t>OZB eigenaren (woningen)</a:t>
            </a:r>
          </a:p>
        </p:txBody>
      </p:sp>
      <p:sp>
        <p:nvSpPr>
          <p:cNvPr id="37" name="Rectangle: Rounded Corners 36">
            <a:extLst>
              <a:ext uri="{FF2B5EF4-FFF2-40B4-BE49-F238E27FC236}">
                <a16:creationId xmlns:a16="http://schemas.microsoft.com/office/drawing/2014/main" id="{D2133139-C414-40CB-8D51-6920DADC3D14}"/>
              </a:ext>
            </a:extLst>
          </p:cNvPr>
          <p:cNvSpPr/>
          <p:nvPr/>
        </p:nvSpPr>
        <p:spPr>
          <a:xfrm>
            <a:off x="6522745" y="4387990"/>
            <a:ext cx="1381156" cy="870829"/>
          </a:xfrm>
          <a:prstGeom prst="roundRect">
            <a:avLst>
              <a:gd name="adj" fmla="val 4781"/>
            </a:avLst>
          </a:prstGeom>
          <a:solidFill>
            <a:srgbClr val="DBDBDB"/>
          </a:solidFill>
          <a:ln w="19050" cap="flat">
            <a:solidFill>
              <a:srgbClr val="DBDBD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t>OZB eigenaren (niet-woningen)</a:t>
            </a:r>
          </a:p>
        </p:txBody>
      </p:sp>
      <p:sp>
        <p:nvSpPr>
          <p:cNvPr id="38" name="Rectangle: Rounded Corners 37">
            <a:extLst>
              <a:ext uri="{FF2B5EF4-FFF2-40B4-BE49-F238E27FC236}">
                <a16:creationId xmlns:a16="http://schemas.microsoft.com/office/drawing/2014/main" id="{19FDF448-D97E-4662-AF68-B3CE5A1AFA9A}"/>
              </a:ext>
            </a:extLst>
          </p:cNvPr>
          <p:cNvSpPr/>
          <p:nvPr/>
        </p:nvSpPr>
        <p:spPr>
          <a:xfrm>
            <a:off x="8046714" y="3371515"/>
            <a:ext cx="1381156" cy="870829"/>
          </a:xfrm>
          <a:prstGeom prst="roundRect">
            <a:avLst>
              <a:gd name="adj" fmla="val 4781"/>
            </a:avLst>
          </a:prstGeom>
          <a:solidFill>
            <a:srgbClr val="DBDBDB"/>
          </a:solidFill>
          <a:ln w="19050" cap="flat">
            <a:solidFill>
              <a:srgbClr val="DBDBD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t>OZB gebruikers (niet-woningen)</a:t>
            </a:r>
          </a:p>
        </p:txBody>
      </p:sp>
      <p:sp>
        <p:nvSpPr>
          <p:cNvPr id="43" name="Rectangle: Rounded Corners 42">
            <a:extLst>
              <a:ext uri="{FF2B5EF4-FFF2-40B4-BE49-F238E27FC236}">
                <a16:creationId xmlns:a16="http://schemas.microsoft.com/office/drawing/2014/main" id="{C8C9B19F-E7E4-4701-9639-7D433B9077F8}"/>
              </a:ext>
            </a:extLst>
          </p:cNvPr>
          <p:cNvSpPr/>
          <p:nvPr/>
        </p:nvSpPr>
        <p:spPr>
          <a:xfrm>
            <a:off x="8041175" y="4387776"/>
            <a:ext cx="1386930" cy="870829"/>
          </a:xfrm>
          <a:prstGeom prst="roundRect">
            <a:avLst>
              <a:gd name="adj" fmla="val 4781"/>
            </a:avLst>
          </a:prstGeom>
          <a:solidFill>
            <a:srgbClr val="DBDBDB"/>
          </a:solidFill>
          <a:ln w="19050" cap="flat">
            <a:solidFill>
              <a:srgbClr val="DBDBD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t>Overige belastingen</a:t>
            </a:r>
          </a:p>
        </p:txBody>
      </p:sp>
      <p:sp>
        <p:nvSpPr>
          <p:cNvPr id="47" name="Rectangle: Rounded Corners 46">
            <a:extLst>
              <a:ext uri="{FF2B5EF4-FFF2-40B4-BE49-F238E27FC236}">
                <a16:creationId xmlns:a16="http://schemas.microsoft.com/office/drawing/2014/main" id="{FF187E36-8AAC-4891-B28A-782FFB313FE9}"/>
              </a:ext>
            </a:extLst>
          </p:cNvPr>
          <p:cNvSpPr/>
          <p:nvPr/>
        </p:nvSpPr>
        <p:spPr>
          <a:xfrm>
            <a:off x="9648410" y="4387990"/>
            <a:ext cx="1381156" cy="870829"/>
          </a:xfrm>
          <a:prstGeom prst="roundRect">
            <a:avLst>
              <a:gd name="adj" fmla="val 4781"/>
            </a:avLst>
          </a:prstGeom>
          <a:solidFill>
            <a:srgbClr val="DBDBDB"/>
          </a:solidFill>
          <a:ln w="19050" cap="flat">
            <a:solidFill>
              <a:srgbClr val="DBDBD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t>Overige Eigen Middelen (OEM)</a:t>
            </a:r>
          </a:p>
        </p:txBody>
      </p:sp>
      <p:sp>
        <p:nvSpPr>
          <p:cNvPr id="49" name="Rectangle: Rounded Corners 48">
            <a:extLst>
              <a:ext uri="{FF2B5EF4-FFF2-40B4-BE49-F238E27FC236}">
                <a16:creationId xmlns:a16="http://schemas.microsoft.com/office/drawing/2014/main" id="{331E57BF-23AC-4F77-B7DA-D6FDDE9FC88D}"/>
              </a:ext>
            </a:extLst>
          </p:cNvPr>
          <p:cNvSpPr/>
          <p:nvPr/>
        </p:nvSpPr>
        <p:spPr>
          <a:xfrm>
            <a:off x="1158096" y="3365126"/>
            <a:ext cx="1385678" cy="870829"/>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solidFill>
                  <a:srgbClr val="FFFFFF"/>
                </a:solidFill>
                <a:latin typeface="+mn-lt"/>
              </a:rPr>
              <a:t>Algemene uitkering</a:t>
            </a:r>
          </a:p>
        </p:txBody>
      </p:sp>
      <p:sp>
        <p:nvSpPr>
          <p:cNvPr id="50" name="Rectangle: Rounded Corners 49">
            <a:extLst>
              <a:ext uri="{FF2B5EF4-FFF2-40B4-BE49-F238E27FC236}">
                <a16:creationId xmlns:a16="http://schemas.microsoft.com/office/drawing/2014/main" id="{62C16675-3F72-41A5-8734-7861DD1AA0DD}"/>
              </a:ext>
            </a:extLst>
          </p:cNvPr>
          <p:cNvSpPr/>
          <p:nvPr/>
        </p:nvSpPr>
        <p:spPr>
          <a:xfrm>
            <a:off x="1162434" y="4381601"/>
            <a:ext cx="1381156" cy="870829"/>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solidFill>
                  <a:srgbClr val="FFFFFF"/>
                </a:solidFill>
                <a:latin typeface="+mn-lt"/>
              </a:rPr>
              <a:t>Decentralisatie</a:t>
            </a:r>
            <a:br>
              <a:rPr lang="nl-NL" dirty="0">
                <a:solidFill>
                  <a:srgbClr val="FFFFFF"/>
                </a:solidFill>
                <a:latin typeface="+mn-lt"/>
              </a:rPr>
            </a:br>
            <a:r>
              <a:rPr lang="nl-NL" dirty="0">
                <a:solidFill>
                  <a:srgbClr val="FFFFFF"/>
                </a:solidFill>
                <a:latin typeface="+mn-lt"/>
              </a:rPr>
              <a:t>uitkering</a:t>
            </a:r>
          </a:p>
        </p:txBody>
      </p:sp>
      <p:sp>
        <p:nvSpPr>
          <p:cNvPr id="51" name="Rectangle: Rounded Corners 50">
            <a:extLst>
              <a:ext uri="{FF2B5EF4-FFF2-40B4-BE49-F238E27FC236}">
                <a16:creationId xmlns:a16="http://schemas.microsoft.com/office/drawing/2014/main" id="{6B891B89-82E3-46A2-9160-AEB820941483}"/>
              </a:ext>
            </a:extLst>
          </p:cNvPr>
          <p:cNvSpPr/>
          <p:nvPr/>
        </p:nvSpPr>
        <p:spPr>
          <a:xfrm>
            <a:off x="2686403" y="3365126"/>
            <a:ext cx="1381156" cy="870829"/>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solidFill>
                  <a:srgbClr val="FFFFFF"/>
                </a:solidFill>
                <a:latin typeface="+mn-lt"/>
              </a:rPr>
              <a:t>Integratie</a:t>
            </a:r>
            <a:br>
              <a:rPr lang="nl-NL" dirty="0">
                <a:solidFill>
                  <a:srgbClr val="FFFFFF"/>
                </a:solidFill>
                <a:latin typeface="+mn-lt"/>
              </a:rPr>
            </a:br>
            <a:r>
              <a:rPr lang="nl-NL" dirty="0">
                <a:solidFill>
                  <a:srgbClr val="FFFFFF"/>
                </a:solidFill>
                <a:latin typeface="+mn-lt"/>
              </a:rPr>
              <a:t>uitkering</a:t>
            </a:r>
          </a:p>
        </p:txBody>
      </p:sp>
      <p:sp>
        <p:nvSpPr>
          <p:cNvPr id="52" name="Rectangle: Rounded Corners 51">
            <a:extLst>
              <a:ext uri="{FF2B5EF4-FFF2-40B4-BE49-F238E27FC236}">
                <a16:creationId xmlns:a16="http://schemas.microsoft.com/office/drawing/2014/main" id="{991B5CBF-2B82-4C1B-BC09-ACB0E8A88703}"/>
              </a:ext>
            </a:extLst>
          </p:cNvPr>
          <p:cNvSpPr/>
          <p:nvPr/>
        </p:nvSpPr>
        <p:spPr>
          <a:xfrm>
            <a:off x="2680864" y="4381387"/>
            <a:ext cx="1386930" cy="870829"/>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solidFill>
                  <a:srgbClr val="FFFFFF"/>
                </a:solidFill>
                <a:latin typeface="+mn-lt"/>
              </a:rPr>
              <a:t>Art. 12</a:t>
            </a:r>
            <a:br>
              <a:rPr lang="nl-NL" dirty="0">
                <a:solidFill>
                  <a:srgbClr val="FFFFFF"/>
                </a:solidFill>
                <a:latin typeface="+mn-lt"/>
              </a:rPr>
            </a:br>
            <a:r>
              <a:rPr lang="nl-NL" dirty="0">
                <a:solidFill>
                  <a:srgbClr val="FFFFFF"/>
                </a:solidFill>
                <a:latin typeface="+mn-lt"/>
              </a:rPr>
              <a:t>Uitkering</a:t>
            </a:r>
          </a:p>
        </p:txBody>
      </p:sp>
      <p:sp>
        <p:nvSpPr>
          <p:cNvPr id="57" name="Rectangle: Rounded Corners 56">
            <a:extLst>
              <a:ext uri="{FF2B5EF4-FFF2-40B4-BE49-F238E27FC236}">
                <a16:creationId xmlns:a16="http://schemas.microsoft.com/office/drawing/2014/main" id="{DF2CDE46-3B24-4F1D-A928-FDCDCA724056}"/>
              </a:ext>
            </a:extLst>
          </p:cNvPr>
          <p:cNvSpPr/>
          <p:nvPr/>
        </p:nvSpPr>
        <p:spPr>
          <a:xfrm>
            <a:off x="4288099" y="3366638"/>
            <a:ext cx="1381156" cy="870829"/>
          </a:xfrm>
          <a:prstGeom prst="roundRect">
            <a:avLst>
              <a:gd name="adj" fmla="val 4781"/>
            </a:avLst>
          </a:prstGeom>
          <a:solidFill>
            <a:srgbClr val="95C5C9"/>
          </a:solidFill>
          <a:ln w="19050" cap="flat">
            <a:solidFill>
              <a:srgbClr val="95C5C9"/>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t>Specifieke uitkeringen</a:t>
            </a:r>
          </a:p>
        </p:txBody>
      </p:sp>
      <p:sp>
        <p:nvSpPr>
          <p:cNvPr id="58" name="Rectangle: Rounded Corners 57">
            <a:extLst>
              <a:ext uri="{FF2B5EF4-FFF2-40B4-BE49-F238E27FC236}">
                <a16:creationId xmlns:a16="http://schemas.microsoft.com/office/drawing/2014/main" id="{A4BE9A2E-D2F1-4F11-8A8C-A04E69085A73}"/>
              </a:ext>
            </a:extLst>
          </p:cNvPr>
          <p:cNvSpPr/>
          <p:nvPr/>
        </p:nvSpPr>
        <p:spPr>
          <a:xfrm>
            <a:off x="4282560" y="4382899"/>
            <a:ext cx="1386930" cy="870829"/>
          </a:xfrm>
          <a:prstGeom prst="roundRect">
            <a:avLst>
              <a:gd name="adj" fmla="val 4781"/>
            </a:avLst>
          </a:prstGeom>
          <a:solidFill>
            <a:srgbClr val="95C5C9"/>
          </a:solidFill>
          <a:ln w="19050" cap="flat">
            <a:solidFill>
              <a:srgbClr val="95C5C9"/>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t>Subsidies &amp; overigen</a:t>
            </a:r>
          </a:p>
        </p:txBody>
      </p:sp>
      <p:sp>
        <p:nvSpPr>
          <p:cNvPr id="40" name="Slide Number Placeholder 4">
            <a:extLst>
              <a:ext uri="{FF2B5EF4-FFF2-40B4-BE49-F238E27FC236}">
                <a16:creationId xmlns:a16="http://schemas.microsoft.com/office/drawing/2014/main" id="{758CB222-1FA2-496B-8E59-CF71752F269C}"/>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11</a:t>
            </a:fld>
            <a:endParaRPr lang="nl-NL" noProof="0" dirty="0"/>
          </a:p>
        </p:txBody>
      </p:sp>
      <p:sp>
        <p:nvSpPr>
          <p:cNvPr id="44" name="Footer Placeholder 3">
            <a:extLst>
              <a:ext uri="{FF2B5EF4-FFF2-40B4-BE49-F238E27FC236}">
                <a16:creationId xmlns:a16="http://schemas.microsoft.com/office/drawing/2014/main" id="{49C9A470-C7E3-4DD6-BBFF-FD1EB594E43B}"/>
              </a:ext>
            </a:extLst>
          </p:cNvPr>
          <p:cNvSpPr>
            <a:spLocks noGrp="1"/>
          </p:cNvSpPr>
          <p:nvPr>
            <p:ph type="ftr" sz="quarter" idx="3"/>
          </p:nvPr>
        </p:nvSpPr>
        <p:spPr>
          <a:xfrm>
            <a:off x="661800" y="6686783"/>
            <a:ext cx="10868400" cy="122400"/>
          </a:xfrm>
        </p:spPr>
        <p:txBody>
          <a:bodyPr/>
          <a:lstStyle/>
          <a:p>
            <a:r>
              <a:rPr lang="nl-NL" dirty="0"/>
              <a:t>Bron: Ministerie van BZK: rapport ‘Rekening houden met verschil’ (2017); Kennis openbaar bestuur (2018) </a:t>
            </a:r>
          </a:p>
        </p:txBody>
      </p:sp>
    </p:spTree>
    <p:extLst>
      <p:ext uri="{BB962C8B-B14F-4D97-AF65-F5344CB8AC3E}">
        <p14:creationId xmlns:p14="http://schemas.microsoft.com/office/powerpoint/2010/main" val="829772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426AFCE-25A5-4C40-BB81-992636C82282}"/>
              </a:ext>
            </a:extLst>
          </p:cNvPr>
          <p:cNvGraphicFramePr>
            <a:graphicFrameLocks noChangeAspect="1"/>
          </p:cNvGraphicFramePr>
          <p:nvPr>
            <p:custDataLst>
              <p:tags r:id="rId2"/>
            </p:custDataLst>
            <p:extLst>
              <p:ext uri="{D42A27DB-BD31-4B8C-83A1-F6EECF244321}">
                <p14:modId xmlns:p14="http://schemas.microsoft.com/office/powerpoint/2010/main" val="226358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8"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09BC607B-23F0-48BA-9635-88D331A344B3}"/>
              </a:ext>
            </a:extLst>
          </p:cNvPr>
          <p:cNvSpPr>
            <a:spLocks noGrp="1"/>
          </p:cNvSpPr>
          <p:nvPr>
            <p:ph type="ftr" sz="quarter" idx="3"/>
          </p:nvPr>
        </p:nvSpPr>
        <p:spPr/>
        <p:txBody>
          <a:bodyPr/>
          <a:lstStyle/>
          <a:p>
            <a:r>
              <a:rPr lang="nl-NL" dirty="0"/>
              <a:t>Bron: Ministerie van BZK: Rekenmodel septembercirculaire (2021) </a:t>
            </a:r>
          </a:p>
        </p:txBody>
      </p:sp>
      <p:sp>
        <p:nvSpPr>
          <p:cNvPr id="5" name="Slide Number Placeholder 4">
            <a:extLst>
              <a:ext uri="{FF2B5EF4-FFF2-40B4-BE49-F238E27FC236}">
                <a16:creationId xmlns:a16="http://schemas.microsoft.com/office/drawing/2014/main" id="{BF40B209-9CFE-41A1-A3A1-B296DBE7F00D}"/>
              </a:ext>
            </a:extLst>
          </p:cNvPr>
          <p:cNvSpPr>
            <a:spLocks noGrp="1"/>
          </p:cNvSpPr>
          <p:nvPr>
            <p:ph type="sldNum" sz="quarter" idx="12"/>
          </p:nvPr>
        </p:nvSpPr>
        <p:spPr/>
        <p:txBody>
          <a:bodyPr/>
          <a:lstStyle/>
          <a:p>
            <a:fld id="{992CD0B2-8AB2-4C6C-8876-E15753662C9B}" type="slidenum">
              <a:rPr lang="nl-NL" noProof="0" smtClean="0"/>
              <a:pPr/>
              <a:t>12</a:t>
            </a:fld>
            <a:endParaRPr lang="nl-NL" noProof="0" dirty="0"/>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D90E6FE6-D1EA-42D0-B6E5-A85545B1C8D3}"/>
                  </a:ext>
                </a:extLst>
              </p:cNvPr>
              <p:cNvGraphicFramePr/>
              <p:nvPr>
                <p:extLst>
                  <p:ext uri="{D42A27DB-BD31-4B8C-83A1-F6EECF244321}">
                    <p14:modId xmlns:p14="http://schemas.microsoft.com/office/powerpoint/2010/main" val="2587592798"/>
                  </p:ext>
                </p:extLst>
              </p:nvPr>
            </p:nvGraphicFramePr>
            <p:xfrm>
              <a:off x="666747" y="3288768"/>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0" name="Chart 9">
                <a:extLst>
                  <a:ext uri="{FF2B5EF4-FFF2-40B4-BE49-F238E27FC236}">
                    <a16:creationId xmlns:a16="http://schemas.microsoft.com/office/drawing/2014/main" id="{D90E6FE6-D1EA-42D0-B6E5-A85545B1C8D3}"/>
                  </a:ext>
                </a:extLst>
              </p:cNvPr>
              <p:cNvPicPr>
                <a:picLocks noGrp="1" noRot="1" noChangeAspect="1" noMove="1" noResize="1" noEditPoints="1" noAdjustHandles="1" noChangeArrowheads="1" noChangeShapeType="1"/>
              </p:cNvPicPr>
              <p:nvPr/>
            </p:nvPicPr>
            <p:blipFill>
              <a:blip r:embed="rId7"/>
              <a:stretch>
                <a:fillRect/>
              </a:stretch>
            </p:blipFill>
            <p:spPr>
              <a:xfrm>
                <a:off x="666747" y="3288768"/>
                <a:ext cx="10866441" cy="2791083"/>
              </a:xfrm>
              <a:prstGeom prst="rect">
                <a:avLst/>
              </a:prstGeom>
            </p:spPr>
          </p:pic>
        </mc:Fallback>
      </mc:AlternateContent>
      <p:sp>
        <p:nvSpPr>
          <p:cNvPr id="12" name="Rectangle 11">
            <a:extLst>
              <a:ext uri="{FF2B5EF4-FFF2-40B4-BE49-F238E27FC236}">
                <a16:creationId xmlns:a16="http://schemas.microsoft.com/office/drawing/2014/main" id="{72B9E4B7-2E53-45FA-8104-52EC65B46165}"/>
              </a:ext>
            </a:extLst>
          </p:cNvPr>
          <p:cNvSpPr/>
          <p:nvPr/>
        </p:nvSpPr>
        <p:spPr>
          <a:xfrm>
            <a:off x="923730" y="2267948"/>
            <a:ext cx="1782147" cy="13899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b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lang="nl-NL" sz="1600" dirty="0">
                <a:cs typeface="Arial" panose="020B0604020202020204" pitchFamily="34" charset="0"/>
              </a:rPr>
              <a:t>31</a:t>
            </a:r>
            <a:r>
              <a:rPr kumimoji="0" lang="nl-NL" sz="160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 miljard</a:t>
            </a:r>
          </a:p>
        </p:txBody>
      </p:sp>
      <p:sp>
        <p:nvSpPr>
          <p:cNvPr id="13" name="Rectangle 12">
            <a:extLst>
              <a:ext uri="{FF2B5EF4-FFF2-40B4-BE49-F238E27FC236}">
                <a16:creationId xmlns:a16="http://schemas.microsoft.com/office/drawing/2014/main" id="{4BD41528-2CA1-4F8A-8A32-C3CA18C54941}"/>
              </a:ext>
            </a:extLst>
          </p:cNvPr>
          <p:cNvSpPr/>
          <p:nvPr/>
        </p:nvSpPr>
        <p:spPr>
          <a:xfrm>
            <a:off x="7262725" y="2267948"/>
            <a:ext cx="1968629" cy="13899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err="1">
                <a:ln>
                  <a:noFill/>
                </a:ln>
                <a:solidFill>
                  <a:srgbClr val="000000"/>
                </a:solidFill>
                <a:effectLst/>
                <a:uLnTx/>
                <a:uFillTx/>
                <a:latin typeface="Corbel" panose="020B0503020204020204" pitchFamily="34" charset="0"/>
                <a:ea typeface="+mn-ea"/>
                <a:cs typeface="Arial" panose="020B0604020202020204" pitchFamily="34" charset="0"/>
              </a:rPr>
              <a:t>Aanv</a:t>
            </a:r>
            <a:r>
              <a:rPr lang="nl-NL" sz="1600" b="1" dirty="0" err="1">
                <a:cs typeface="Arial" panose="020B0604020202020204" pitchFamily="34" charset="0"/>
              </a:rPr>
              <a:t>ullende</a:t>
            </a:r>
            <a: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uitkering</a:t>
            </a:r>
            <a:b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b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a:t>
            </a:r>
            <a:r>
              <a:rPr kumimoji="0" lang="nl-NL" sz="160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7 miljard</a:t>
            </a:r>
          </a:p>
        </p:txBody>
      </p:sp>
      <p:sp>
        <p:nvSpPr>
          <p:cNvPr id="14" name="Rectangle 13">
            <a:extLst>
              <a:ext uri="{FF2B5EF4-FFF2-40B4-BE49-F238E27FC236}">
                <a16:creationId xmlns:a16="http://schemas.microsoft.com/office/drawing/2014/main" id="{4AECA808-4501-49EC-83C2-F8EB1AC56F7A}"/>
              </a:ext>
            </a:extLst>
          </p:cNvPr>
          <p:cNvSpPr/>
          <p:nvPr/>
        </p:nvSpPr>
        <p:spPr>
          <a:xfrm>
            <a:off x="3085323" y="2267948"/>
            <a:ext cx="1782147" cy="13899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b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60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endParaRPr kumimoji="0" lang="nl-NL"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B4646843-7A46-4C08-97E1-E244D3540CC2}"/>
              </a:ext>
            </a:extLst>
          </p:cNvPr>
          <p:cNvSpPr/>
          <p:nvPr/>
        </p:nvSpPr>
        <p:spPr>
          <a:xfrm>
            <a:off x="9507006" y="2267948"/>
            <a:ext cx="1782147" cy="13899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b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60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4,6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endParaRPr kumimoji="0" lang="nl-NL"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16" name="Straight Connector 15">
            <a:extLst>
              <a:ext uri="{FF2B5EF4-FFF2-40B4-BE49-F238E27FC236}">
                <a16:creationId xmlns:a16="http://schemas.microsoft.com/office/drawing/2014/main" id="{D24A2CB6-305B-44D0-BF4F-E134743C19C1}"/>
              </a:ext>
            </a:extLst>
          </p:cNvPr>
          <p:cNvCxnSpPr>
            <a:cxnSpLocks/>
          </p:cNvCxnSpPr>
          <p:nvPr/>
        </p:nvCxnSpPr>
        <p:spPr>
          <a:xfrm>
            <a:off x="923730"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F553BE9-1BDD-4218-AC9C-7F4FB14F1728}"/>
              </a:ext>
            </a:extLst>
          </p:cNvPr>
          <p:cNvCxnSpPr>
            <a:cxnSpLocks/>
          </p:cNvCxnSpPr>
          <p:nvPr/>
        </p:nvCxnSpPr>
        <p:spPr>
          <a:xfrm>
            <a:off x="2705877"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A4B581D-5B9E-4313-BA26-29C5DF5C8722}"/>
              </a:ext>
            </a:extLst>
          </p:cNvPr>
          <p:cNvCxnSpPr>
            <a:cxnSpLocks/>
          </p:cNvCxnSpPr>
          <p:nvPr/>
        </p:nvCxnSpPr>
        <p:spPr>
          <a:xfrm>
            <a:off x="7237335"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E019A4C-FE0F-4416-8B57-7C8943BABB64}"/>
              </a:ext>
            </a:extLst>
          </p:cNvPr>
          <p:cNvCxnSpPr>
            <a:cxnSpLocks/>
          </p:cNvCxnSpPr>
          <p:nvPr/>
        </p:nvCxnSpPr>
        <p:spPr>
          <a:xfrm>
            <a:off x="9240232"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484C23-9809-46EB-9D02-440E25B6D495}"/>
              </a:ext>
            </a:extLst>
          </p:cNvPr>
          <p:cNvCxnSpPr>
            <a:cxnSpLocks/>
          </p:cNvCxnSpPr>
          <p:nvPr/>
        </p:nvCxnSpPr>
        <p:spPr>
          <a:xfrm>
            <a:off x="3075991"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E5EC290-B3C4-4BE7-B2B8-DFF99F568875}"/>
              </a:ext>
            </a:extLst>
          </p:cNvPr>
          <p:cNvCxnSpPr>
            <a:cxnSpLocks/>
          </p:cNvCxnSpPr>
          <p:nvPr/>
        </p:nvCxnSpPr>
        <p:spPr>
          <a:xfrm>
            <a:off x="4858138"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4D38602-8237-43CD-96B9-C0F9E5F17DCA}"/>
              </a:ext>
            </a:extLst>
          </p:cNvPr>
          <p:cNvCxnSpPr>
            <a:cxnSpLocks/>
          </p:cNvCxnSpPr>
          <p:nvPr/>
        </p:nvCxnSpPr>
        <p:spPr>
          <a:xfrm>
            <a:off x="9510061"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934C2C6-2ED1-4D88-83AB-0C68CA292E75}"/>
              </a:ext>
            </a:extLst>
          </p:cNvPr>
          <p:cNvCxnSpPr>
            <a:cxnSpLocks/>
          </p:cNvCxnSpPr>
          <p:nvPr/>
        </p:nvCxnSpPr>
        <p:spPr>
          <a:xfrm>
            <a:off x="11292208"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0C0237D-9E8A-4EC9-AB1A-9370738E159A}"/>
              </a:ext>
            </a:extLst>
          </p:cNvPr>
          <p:cNvCxnSpPr/>
          <p:nvPr/>
        </p:nvCxnSpPr>
        <p:spPr>
          <a:xfrm>
            <a:off x="899266" y="612350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D35A1D44-7D21-4451-BB6F-17610E900ACE}"/>
              </a:ext>
            </a:extLst>
          </p:cNvPr>
          <p:cNvSpPr/>
          <p:nvPr/>
        </p:nvSpPr>
        <p:spPr>
          <a:xfrm>
            <a:off x="5204926" y="2267948"/>
            <a:ext cx="1782147" cy="13899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t>
            </a:r>
            <a:r>
              <a:rPr lang="nl-NL" sz="1600" b="1" dirty="0">
                <a:cs typeface="Arial" panose="020B0604020202020204" pitchFamily="34" charset="0"/>
              </a:rPr>
              <a:t>a</a:t>
            </a:r>
            <a:r>
              <a:rPr kumimoji="0" lang="nl-NL" sz="1600" b="1" i="0" u="none" strike="noStrike" kern="1200" cap="none" spc="0" normalizeH="0" baseline="0" noProof="0" dirty="0" err="1">
                <a:ln>
                  <a:noFill/>
                </a:ln>
                <a:solidFill>
                  <a:srgbClr val="000000"/>
                </a:solidFill>
                <a:effectLst/>
                <a:uLnTx/>
                <a:uFillTx/>
                <a:latin typeface="Corbel" panose="020B0503020204020204" pitchFamily="34" charset="0"/>
                <a:ea typeface="+mn-ea"/>
                <a:cs typeface="Arial" panose="020B0604020202020204" pitchFamily="34" charset="0"/>
              </a:rPr>
              <a:t>lgemeen</a:t>
            </a:r>
            <a:b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b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60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8,9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endParaRPr kumimoji="0" lang="nl-NL"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26" name="Straight Connector 25">
            <a:extLst>
              <a:ext uri="{FF2B5EF4-FFF2-40B4-BE49-F238E27FC236}">
                <a16:creationId xmlns:a16="http://schemas.microsoft.com/office/drawing/2014/main" id="{2F209F3D-EA12-42FE-86F3-922A581711C4}"/>
              </a:ext>
            </a:extLst>
          </p:cNvPr>
          <p:cNvCxnSpPr>
            <a:cxnSpLocks/>
          </p:cNvCxnSpPr>
          <p:nvPr/>
        </p:nvCxnSpPr>
        <p:spPr>
          <a:xfrm>
            <a:off x="5195594"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083428B-6E2C-40E0-85C8-86EDA7467578}"/>
              </a:ext>
            </a:extLst>
          </p:cNvPr>
          <p:cNvCxnSpPr>
            <a:cxnSpLocks/>
          </p:cNvCxnSpPr>
          <p:nvPr/>
        </p:nvCxnSpPr>
        <p:spPr>
          <a:xfrm>
            <a:off x="6977741" y="2150485"/>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7" name="Text Placeholder 3">
            <a:extLst>
              <a:ext uri="{FF2B5EF4-FFF2-40B4-BE49-F238E27FC236}">
                <a16:creationId xmlns:a16="http://schemas.microsoft.com/office/drawing/2014/main" id="{D6FC4D8A-FE1E-4AB0-A9CB-87A83DBF48CA}"/>
              </a:ext>
            </a:extLst>
          </p:cNvPr>
          <p:cNvSpPr>
            <a:spLocks noGrp="1"/>
          </p:cNvSpPr>
          <p:nvPr>
            <p:ph type="body" sz="quarter" idx="14"/>
          </p:nvPr>
        </p:nvSpPr>
        <p:spPr>
          <a:xfrm>
            <a:off x="662780" y="1203211"/>
            <a:ext cx="10866440" cy="388800"/>
          </a:xfrm>
        </p:spPr>
        <p:txBody>
          <a:bodyPr/>
          <a:lstStyle/>
          <a:p>
            <a:r>
              <a:rPr lang="nl-NL" dirty="0"/>
              <a:t>Onderdelen en totale omvang van het gemeentefonds, 2021</a:t>
            </a:r>
          </a:p>
        </p:txBody>
      </p:sp>
      <p:sp>
        <p:nvSpPr>
          <p:cNvPr id="38" name="Title 4">
            <a:extLst>
              <a:ext uri="{FF2B5EF4-FFF2-40B4-BE49-F238E27FC236}">
                <a16:creationId xmlns:a16="http://schemas.microsoft.com/office/drawing/2014/main" id="{A2D78378-23DD-4ECE-AF20-E15BD4FFD606}"/>
              </a:ext>
            </a:extLst>
          </p:cNvPr>
          <p:cNvSpPr>
            <a:spLocks noGrp="1"/>
          </p:cNvSpPr>
          <p:nvPr>
            <p:ph type="title"/>
          </p:nvPr>
        </p:nvSpPr>
        <p:spPr>
          <a:xfrm>
            <a:off x="662780" y="384876"/>
            <a:ext cx="10866441" cy="774000"/>
          </a:xfrm>
        </p:spPr>
        <p:txBody>
          <a:bodyPr vert="horz"/>
          <a:lstStyle/>
          <a:p>
            <a:r>
              <a:rPr lang="nl-NL" dirty="0">
                <a:solidFill>
                  <a:srgbClr val="000000"/>
                </a:solidFill>
              </a:rPr>
              <a:t>Bijlage 2</a:t>
            </a:r>
            <a:br>
              <a:rPr lang="nl-NL" sz="1800" dirty="0"/>
            </a:br>
            <a:r>
              <a:rPr lang="nl-NL" dirty="0"/>
              <a:t>Totale uitkering gemeentefonds in 2021 is 34,6 miljard</a:t>
            </a:r>
          </a:p>
        </p:txBody>
      </p:sp>
    </p:spTree>
    <p:extLst>
      <p:ext uri="{BB962C8B-B14F-4D97-AF65-F5344CB8AC3E}">
        <p14:creationId xmlns:p14="http://schemas.microsoft.com/office/powerpoint/2010/main" val="42086298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9"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7">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Bas Verviers (bas.verviers@itspublic.nl)</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8">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
        <p:nvSpPr>
          <p:cNvPr id="11" name="Slide Number Placeholder 9">
            <a:extLst>
              <a:ext uri="{FF2B5EF4-FFF2-40B4-BE49-F238E27FC236}">
                <a16:creationId xmlns:a16="http://schemas.microsoft.com/office/drawing/2014/main" id="{2FE9519B-A827-4A50-95B5-768725EEA285}"/>
              </a:ext>
            </a:extLst>
          </p:cNvPr>
          <p:cNvSpPr txBox="1">
            <a:spLocks/>
          </p:cNvSpPr>
          <p:nvPr/>
        </p:nvSpPr>
        <p:spPr>
          <a:xfrm>
            <a:off x="10989444" y="6684903"/>
            <a:ext cx="1023140" cy="163513"/>
          </a:xfrm>
          <a:prstGeom prst="rect">
            <a:avLst/>
          </a:prstGeom>
        </p:spPr>
        <p:txBody>
          <a:bodyPr lIns="0" tIns="0" rIns="72000" bIns="0"/>
          <a:lstStyle>
            <a:defPPr>
              <a:defRPr lang="nl-NL"/>
            </a:defPPr>
            <a:lvl1pPr marL="0" indent="0" algn="r" defTabSz="685800" rtl="0" eaLnBrk="1" latinLnBrk="0" hangingPunct="1">
              <a:lnSpc>
                <a:spcPct val="90000"/>
              </a:lnSpc>
              <a:spcBef>
                <a:spcPts val="375"/>
              </a:spcBef>
              <a:buClr>
                <a:schemeClr val="dk2"/>
              </a:buClr>
              <a:buFont typeface="Wingdings" panose="05000000000000000000" pitchFamily="2" charset="2"/>
              <a:buNone/>
              <a:defRPr sz="1000" kern="1200">
                <a:solidFill>
                  <a:srgbClr val="000000"/>
                </a:solidFill>
                <a:latin typeface="+mj-lt"/>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fld id="{992CD0B2-8AB2-4C6C-8876-E15753662C9B}" type="slidenum">
              <a:rPr lang="nl-NL" smtClean="0">
                <a:solidFill>
                  <a:srgbClr val="FFFFFF"/>
                </a:solidFill>
              </a:rPr>
              <a:pPr/>
              <a:t>13</a:t>
            </a:fld>
            <a:endParaRPr lang="nl-NL" dirty="0">
              <a:solidFill>
                <a:srgbClr val="FFFFFF"/>
              </a:solidFill>
            </a:endParaRPr>
          </a:p>
        </p:txBody>
      </p:sp>
    </p:spTree>
    <p:extLst>
      <p:ext uri="{BB962C8B-B14F-4D97-AF65-F5344CB8AC3E}">
        <p14:creationId xmlns:p14="http://schemas.microsoft.com/office/powerpoint/2010/main" val="21911028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8A17BC-9B52-465E-9D4B-8839BBC7030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6"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738A17BC-9B52-465E-9D4B-8839BBC70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D883C64-7311-4F64-AC87-59EE542A0E85}"/>
              </a:ext>
            </a:extLst>
          </p:cNvPr>
          <p:cNvSpPr>
            <a:spLocks noGrp="1"/>
          </p:cNvSpPr>
          <p:nvPr>
            <p:ph sz="quarter" idx="31"/>
          </p:nvPr>
        </p:nvSpPr>
        <p:spPr/>
        <p:txBody>
          <a:bodyPr/>
          <a:lstStyle/>
          <a:p>
            <a:pPr marL="0" indent="0">
              <a:buNone/>
            </a:pPr>
            <a:endParaRPr lang="nl-NL" sz="3200" b="1" dirty="0">
              <a:solidFill>
                <a:schemeClr val="tx1"/>
              </a:solidFill>
            </a:endParaRPr>
          </a:p>
          <a:p>
            <a:pPr marL="0" indent="0">
              <a:buNone/>
            </a:pPr>
            <a:endParaRPr lang="nl-NL" sz="3200" b="1" dirty="0">
              <a:solidFill>
                <a:schemeClr val="tx1"/>
              </a:solidFill>
            </a:endParaRPr>
          </a:p>
          <a:p>
            <a:pPr marL="0" indent="0">
              <a:buNone/>
            </a:pPr>
            <a:r>
              <a:rPr lang="nl-NL" sz="3200" b="1" dirty="0">
                <a:solidFill>
                  <a:schemeClr val="tx1"/>
                </a:solidFill>
              </a:rPr>
              <a:t>Via het gemeentefonds ontvangen gemeenten een significant deel van hun begroting. </a:t>
            </a:r>
            <a:r>
              <a:rPr lang="nl-NL" sz="3200" b="1" dirty="0">
                <a:solidFill>
                  <a:srgbClr val="22777B"/>
                </a:solidFill>
              </a:rPr>
              <a:t>Dit document verschaft  inzicht in de werking en verdeling van de algemene uitkering van het gemeentefonds.</a:t>
            </a:r>
            <a:endParaRPr lang="nl-NL" sz="3200" dirty="0"/>
          </a:p>
        </p:txBody>
      </p:sp>
      <p:sp>
        <p:nvSpPr>
          <p:cNvPr id="5" name="Slide Number Placeholder 4">
            <a:extLst>
              <a:ext uri="{FF2B5EF4-FFF2-40B4-BE49-F238E27FC236}">
                <a16:creationId xmlns:a16="http://schemas.microsoft.com/office/drawing/2014/main" id="{020EA6BC-637F-4A6C-A256-F58FB483D2B4}"/>
              </a:ext>
            </a:extLst>
          </p:cNvPr>
          <p:cNvSpPr>
            <a:spLocks noGrp="1"/>
          </p:cNvSpPr>
          <p:nvPr>
            <p:ph type="sldNum" sz="quarter" idx="12"/>
          </p:nvPr>
        </p:nvSpPr>
        <p:spPr/>
        <p:txBody>
          <a:bodyPr/>
          <a:lstStyle/>
          <a:p>
            <a:fld id="{992CD0B2-8AB2-4C6C-8876-E15753662C9B}" type="slidenum">
              <a:rPr lang="nl-NL" noProof="0" smtClean="0"/>
              <a:pPr/>
              <a:t>2</a:t>
            </a:fld>
            <a:endParaRPr lang="nl-NL" noProof="0" dirty="0"/>
          </a:p>
        </p:txBody>
      </p:sp>
      <p:sp>
        <p:nvSpPr>
          <p:cNvPr id="6" name="Text Placeholder 5">
            <a:extLst>
              <a:ext uri="{FF2B5EF4-FFF2-40B4-BE49-F238E27FC236}">
                <a16:creationId xmlns:a16="http://schemas.microsoft.com/office/drawing/2014/main" id="{6E383DB1-CA67-4C8A-8CF8-F4282497758A}"/>
              </a:ext>
            </a:extLst>
          </p:cNvPr>
          <p:cNvSpPr>
            <a:spLocks noGrp="1"/>
          </p:cNvSpPr>
          <p:nvPr>
            <p:ph type="body" sz="quarter" idx="14"/>
          </p:nvPr>
        </p:nvSpPr>
        <p:spPr/>
        <p:txBody>
          <a:bodyPr/>
          <a:lstStyle/>
          <a:p>
            <a:endParaRPr lang="nl-NL"/>
          </a:p>
        </p:txBody>
      </p:sp>
      <p:sp>
        <p:nvSpPr>
          <p:cNvPr id="7" name="Title 6">
            <a:extLst>
              <a:ext uri="{FF2B5EF4-FFF2-40B4-BE49-F238E27FC236}">
                <a16:creationId xmlns:a16="http://schemas.microsoft.com/office/drawing/2014/main" id="{93EA75CD-7386-4CAF-95A2-327281EAC0AC}"/>
              </a:ext>
            </a:extLst>
          </p:cNvPr>
          <p:cNvSpPr>
            <a:spLocks noGrp="1"/>
          </p:cNvSpPr>
          <p:nvPr>
            <p:ph type="title"/>
          </p:nvPr>
        </p:nvSpPr>
        <p:spPr/>
        <p:txBody>
          <a:bodyPr vert="horz"/>
          <a:lstStyle/>
          <a:p>
            <a:r>
              <a:rPr lang="nl-NL" dirty="0"/>
              <a:t>Focus van dit document</a:t>
            </a:r>
          </a:p>
        </p:txBody>
      </p:sp>
    </p:spTree>
    <p:extLst>
      <p:ext uri="{BB962C8B-B14F-4D97-AF65-F5344CB8AC3E}">
        <p14:creationId xmlns:p14="http://schemas.microsoft.com/office/powerpoint/2010/main" val="2876835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09CECC8-6A4C-40AA-9984-1E045058994D}"/>
              </a:ext>
            </a:extLst>
          </p:cNvPr>
          <p:cNvGraphicFramePr>
            <a:graphicFrameLocks noChangeAspect="1"/>
          </p:cNvGraphicFramePr>
          <p:nvPr>
            <p:custDataLst>
              <p:tags r:id="rId2"/>
            </p:custDataLst>
            <p:extLst>
              <p:ext uri="{D42A27DB-BD31-4B8C-83A1-F6EECF244321}">
                <p14:modId xmlns:p14="http://schemas.microsoft.com/office/powerpoint/2010/main" val="2758654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2"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Content Placeholder 13">
            <a:extLst>
              <a:ext uri="{FF2B5EF4-FFF2-40B4-BE49-F238E27FC236}">
                <a16:creationId xmlns:a16="http://schemas.microsoft.com/office/drawing/2014/main" id="{F6FB4D1D-9756-4A8F-B234-F44C513F5EA6}"/>
              </a:ext>
            </a:extLst>
          </p:cNvPr>
          <p:cNvSpPr>
            <a:spLocks noGrp="1"/>
          </p:cNvSpPr>
          <p:nvPr>
            <p:ph sz="quarter" idx="31"/>
          </p:nvPr>
        </p:nvSpPr>
        <p:spPr>
          <a:xfrm>
            <a:off x="662780" y="1699963"/>
            <a:ext cx="10913702" cy="4644000"/>
          </a:xfrm>
        </p:spPr>
        <p:txBody>
          <a:bodyPr/>
          <a:lstStyle/>
          <a:p>
            <a:pPr marL="0" indent="0">
              <a:buNone/>
            </a:pPr>
            <a:r>
              <a:rPr lang="nl-NL" sz="1600" b="1" dirty="0">
                <a:latin typeface="+mn-lt"/>
              </a:rPr>
              <a:t>De algemene uitkering uit het gemeentefonds bedraagt ca. 31 miljard euro en vormt de belangrijkste bron van inkomsten voor gemeenten.</a:t>
            </a:r>
          </a:p>
          <a:p>
            <a:endParaRPr lang="nl-NL" sz="1600" dirty="0">
              <a:latin typeface="+mn-lt"/>
            </a:endParaRPr>
          </a:p>
          <a:p>
            <a:r>
              <a:rPr lang="nl-NL" sz="1600" i="0" dirty="0">
                <a:solidFill>
                  <a:srgbClr val="1D1C1D"/>
                </a:solidFill>
                <a:effectLst/>
                <a:latin typeface="+mn-lt"/>
              </a:rPr>
              <a:t>De totale omvan</a:t>
            </a:r>
            <a:r>
              <a:rPr lang="nl-NL" sz="1600" dirty="0">
                <a:solidFill>
                  <a:srgbClr val="1D1C1D"/>
                </a:solidFill>
                <a:latin typeface="+mn-lt"/>
              </a:rPr>
              <a:t>g van de</a:t>
            </a:r>
            <a:r>
              <a:rPr lang="nl-NL" sz="1600" i="0" dirty="0">
                <a:solidFill>
                  <a:srgbClr val="1D1C1D"/>
                </a:solidFill>
                <a:effectLst/>
                <a:latin typeface="+mn-lt"/>
              </a:rPr>
              <a:t> </a:t>
            </a:r>
            <a:r>
              <a:rPr lang="nl-NL" sz="1600" b="0" i="0" dirty="0">
                <a:solidFill>
                  <a:srgbClr val="1D1C1D"/>
                </a:solidFill>
                <a:effectLst/>
                <a:latin typeface="+mn-lt"/>
              </a:rPr>
              <a:t>algemene uitkering is niet afhankelijk van de ontwikkeling van de werklast van gemeenten maar </a:t>
            </a:r>
            <a:r>
              <a:rPr lang="nl-NL" sz="1600" i="0" dirty="0">
                <a:solidFill>
                  <a:srgbClr val="1D1C1D"/>
                </a:solidFill>
                <a:effectLst/>
                <a:latin typeface="+mn-lt"/>
              </a:rPr>
              <a:t>afhankelijk van de ontwikkeling van Rijksuitgaven</a:t>
            </a:r>
            <a:r>
              <a:rPr lang="nl-NL" sz="1600" b="0" i="0" dirty="0">
                <a:solidFill>
                  <a:srgbClr val="1D1C1D"/>
                </a:solidFill>
                <a:effectLst/>
                <a:latin typeface="+mn-lt"/>
              </a:rPr>
              <a:t>.</a:t>
            </a:r>
          </a:p>
          <a:p>
            <a:pPr marL="0" indent="0">
              <a:buNone/>
            </a:pPr>
            <a:endParaRPr lang="nl-NL" sz="1600" b="0" i="0" dirty="0">
              <a:solidFill>
                <a:srgbClr val="1D1C1D"/>
              </a:solidFill>
              <a:effectLst/>
              <a:latin typeface="+mn-lt"/>
            </a:endParaRPr>
          </a:p>
          <a:p>
            <a:r>
              <a:rPr lang="nl-NL" sz="1600" b="0" i="0" dirty="0">
                <a:solidFill>
                  <a:srgbClr val="1D1C1D"/>
                </a:solidFill>
                <a:effectLst/>
                <a:latin typeface="+mn-lt"/>
              </a:rPr>
              <a:t>De verdeling van de uitkering over de gemeente vindt plaats op basis van een brede set maatstaven. Over tijd kan een gemeente dus een hoger of lager aandeel krijgen van de totale uitkering op basis van bijvoorbeeld een relatief hoge bevolkingsgroei.</a:t>
            </a:r>
          </a:p>
          <a:p>
            <a:endParaRPr lang="nl-NL" sz="1600" dirty="0">
              <a:solidFill>
                <a:srgbClr val="1D1C1D"/>
              </a:solidFill>
              <a:latin typeface="+mn-lt"/>
            </a:endParaRPr>
          </a:p>
          <a:p>
            <a:r>
              <a:rPr lang="nl-NL" sz="1600" b="0" i="0" dirty="0">
                <a:solidFill>
                  <a:srgbClr val="1D1C1D"/>
                </a:solidFill>
                <a:effectLst/>
                <a:latin typeface="+mn-lt"/>
              </a:rPr>
              <a:t>De </a:t>
            </a:r>
            <a:r>
              <a:rPr lang="nl-NL" sz="1600" i="0" dirty="0">
                <a:solidFill>
                  <a:srgbClr val="1D1C1D"/>
                </a:solidFill>
                <a:effectLst/>
                <a:latin typeface="+mn-lt"/>
              </a:rPr>
              <a:t>uitkeringsfactor wordt </a:t>
            </a:r>
            <a:r>
              <a:rPr lang="nl-NL" sz="1600" b="0" i="0" dirty="0">
                <a:solidFill>
                  <a:srgbClr val="1D1C1D"/>
                </a:solidFill>
                <a:effectLst/>
                <a:latin typeface="+mn-lt"/>
              </a:rPr>
              <a:t>gebruikt om de totale uitkering aan te laten sluiten op het verdeelmodel.</a:t>
            </a:r>
          </a:p>
          <a:p>
            <a:endParaRPr lang="nl-NL" sz="1600" b="0" i="0" dirty="0">
              <a:solidFill>
                <a:srgbClr val="1D1C1D"/>
              </a:solidFill>
              <a:effectLst/>
              <a:latin typeface="+mn-lt"/>
            </a:endParaRPr>
          </a:p>
          <a:p>
            <a:r>
              <a:rPr lang="nl-NL" sz="1600" b="0" i="0" dirty="0">
                <a:solidFill>
                  <a:srgbClr val="1D1C1D"/>
                </a:solidFill>
                <a:effectLst/>
                <a:latin typeface="+mn-lt"/>
              </a:rPr>
              <a:t>Omdat de ontwikkeling van de totale uitkering niet is gebaseerd op de ontwikkeling van de gemeentelijke lasten kan er over tijd een verschil ontstaan, zowel ten gunste als ten nadele van de gemeenten of het Rijk. Lees </a:t>
            </a:r>
            <a:r>
              <a:rPr lang="nl-NL" sz="1600" i="0" dirty="0">
                <a:effectLst/>
                <a:latin typeface="+mn-lt"/>
              </a:rPr>
              <a:t>hier</a:t>
            </a:r>
            <a:r>
              <a:rPr lang="nl-NL" sz="1600" b="0" i="0" dirty="0">
                <a:solidFill>
                  <a:srgbClr val="1D1C1D"/>
                </a:solidFill>
                <a:effectLst/>
                <a:latin typeface="+mn-lt"/>
              </a:rPr>
              <a:t> meer over in onze publicatie </a:t>
            </a:r>
            <a:r>
              <a:rPr lang="nl-NL" sz="1600" b="1" i="0" dirty="0">
                <a:solidFill>
                  <a:srgbClr val="22777B"/>
                </a:solidFill>
                <a:effectLst/>
                <a:latin typeface="+mn-lt"/>
              </a:rPr>
              <a:t>Ontwikkeling van tien jaar gemeentefonds</a:t>
            </a:r>
            <a:r>
              <a:rPr lang="nl-NL" sz="1600" i="0" dirty="0">
                <a:solidFill>
                  <a:schemeClr val="tx1"/>
                </a:solidFill>
                <a:effectLst/>
                <a:latin typeface="+mn-lt"/>
              </a:rPr>
              <a:t>.</a:t>
            </a:r>
            <a:br>
              <a:rPr lang="nl-NL" sz="1600" b="0" i="0" dirty="0">
                <a:solidFill>
                  <a:srgbClr val="1D1C1D"/>
                </a:solidFill>
                <a:effectLst/>
                <a:latin typeface="+mn-lt"/>
              </a:rPr>
            </a:br>
            <a:endParaRPr lang="nl-NL" sz="1600" b="0" i="0" dirty="0">
              <a:solidFill>
                <a:srgbClr val="1D1C1D"/>
              </a:solidFill>
              <a:effectLst/>
              <a:latin typeface="+mn-lt"/>
            </a:endParaRPr>
          </a:p>
          <a:p>
            <a:r>
              <a:rPr lang="nl-NL" sz="1600" b="0" i="0" dirty="0">
                <a:solidFill>
                  <a:srgbClr val="1D1C1D"/>
                </a:solidFill>
                <a:effectLst/>
                <a:latin typeface="+mn-lt"/>
              </a:rPr>
              <a:t>Meer weten over de uitkering per gemeente? Bekijk dan onze </a:t>
            </a:r>
            <a:r>
              <a:rPr lang="nl-NL" sz="1600" b="1" i="0" dirty="0">
                <a:solidFill>
                  <a:srgbClr val="22777B"/>
                </a:solidFill>
                <a:effectLst/>
                <a:latin typeface="+mn-lt"/>
              </a:rPr>
              <a:t>gemeentefondsmonitor</a:t>
            </a:r>
            <a:r>
              <a:rPr lang="nl-NL" sz="1600" b="0" i="0" dirty="0">
                <a:solidFill>
                  <a:srgbClr val="1D1C1D"/>
                </a:solidFill>
                <a:effectLst/>
                <a:latin typeface="+mn-lt"/>
              </a:rPr>
              <a:t> per gemeente</a:t>
            </a:r>
            <a:r>
              <a:rPr lang="nl-NL" sz="1600" i="0" dirty="0">
                <a:effectLst/>
                <a:latin typeface="+mn-lt"/>
              </a:rPr>
              <a:t>.</a:t>
            </a:r>
          </a:p>
        </p:txBody>
      </p:sp>
      <p:sp>
        <p:nvSpPr>
          <p:cNvPr id="10" name="Slide Number Placeholder 9">
            <a:extLst>
              <a:ext uri="{FF2B5EF4-FFF2-40B4-BE49-F238E27FC236}">
                <a16:creationId xmlns:a16="http://schemas.microsoft.com/office/drawing/2014/main" id="{BE416764-190A-4681-999A-C9B2F4B27672}"/>
              </a:ext>
            </a:extLst>
          </p:cNvPr>
          <p:cNvSpPr>
            <a:spLocks noGrp="1"/>
          </p:cNvSpPr>
          <p:nvPr>
            <p:ph type="sldNum" sz="quarter" idx="12"/>
          </p:nvPr>
        </p:nvSpPr>
        <p:spPr/>
        <p:txBody>
          <a:bodyPr/>
          <a:lstStyle/>
          <a:p>
            <a:fld id="{992CD0B2-8AB2-4C6C-8876-E15753662C9B}" type="slidenum">
              <a:rPr lang="nl-NL" noProof="0" smtClean="0"/>
              <a:pPr/>
              <a:t>3</a:t>
            </a:fld>
            <a:endParaRPr lang="nl-NL" noProof="0" dirty="0"/>
          </a:p>
        </p:txBody>
      </p:sp>
      <p:sp>
        <p:nvSpPr>
          <p:cNvPr id="12" name="Text Placeholder 11">
            <a:extLst>
              <a:ext uri="{FF2B5EF4-FFF2-40B4-BE49-F238E27FC236}">
                <a16:creationId xmlns:a16="http://schemas.microsoft.com/office/drawing/2014/main" id="{3DAA0210-724F-4C12-ABE2-AFF41FFDA895}"/>
              </a:ext>
            </a:extLst>
          </p:cNvPr>
          <p:cNvSpPr>
            <a:spLocks noGrp="1"/>
          </p:cNvSpPr>
          <p:nvPr>
            <p:ph type="body" sz="quarter" idx="14"/>
          </p:nvPr>
        </p:nvSpPr>
        <p:spPr/>
        <p:txBody>
          <a:bodyPr/>
          <a:lstStyle/>
          <a:p>
            <a:endParaRPr lang="nl-NL"/>
          </a:p>
        </p:txBody>
      </p:sp>
      <p:sp>
        <p:nvSpPr>
          <p:cNvPr id="11" name="Title 10">
            <a:extLst>
              <a:ext uri="{FF2B5EF4-FFF2-40B4-BE49-F238E27FC236}">
                <a16:creationId xmlns:a16="http://schemas.microsoft.com/office/drawing/2014/main" id="{7C2F9C88-7890-40FA-B96D-45F7ACF6C69D}"/>
              </a:ext>
            </a:extLst>
          </p:cNvPr>
          <p:cNvSpPr>
            <a:spLocks noGrp="1"/>
          </p:cNvSpPr>
          <p:nvPr>
            <p:ph type="title"/>
          </p:nvPr>
        </p:nvSpPr>
        <p:spPr/>
        <p:txBody>
          <a:bodyPr vert="horz"/>
          <a:lstStyle/>
          <a:p>
            <a:r>
              <a:rPr lang="nl-NL" dirty="0"/>
              <a:t>Samenvatting</a:t>
            </a:r>
          </a:p>
        </p:txBody>
      </p:sp>
    </p:spTree>
    <p:extLst>
      <p:ext uri="{BB962C8B-B14F-4D97-AF65-F5344CB8AC3E}">
        <p14:creationId xmlns:p14="http://schemas.microsoft.com/office/powerpoint/2010/main" val="2838482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614DCF7-03DC-44B2-86CA-DC6D3F06AB84}"/>
              </a:ext>
            </a:extLst>
          </p:cNvPr>
          <p:cNvGraphicFramePr>
            <a:graphicFrameLocks noChangeAspect="1"/>
          </p:cNvGraphicFramePr>
          <p:nvPr>
            <p:custDataLst>
              <p:tags r:id="rId2"/>
            </p:custDataLst>
            <p:extLst>
              <p:ext uri="{D42A27DB-BD31-4B8C-83A1-F6EECF244321}">
                <p14:modId xmlns:p14="http://schemas.microsoft.com/office/powerpoint/2010/main" val="3078605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5"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6614DCF7-03DC-44B2-86CA-DC6D3F06AB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885BB25-A0F3-496E-B395-2E67B55741D4}"/>
              </a:ext>
            </a:extLst>
          </p:cNvPr>
          <p:cNvSpPr>
            <a:spLocks noGrp="1"/>
          </p:cNvSpPr>
          <p:nvPr>
            <p:ph type="title"/>
          </p:nvPr>
        </p:nvSpPr>
        <p:spPr/>
        <p:txBody>
          <a:bodyPr vert="horz"/>
          <a:lstStyle/>
          <a:p>
            <a:br>
              <a:rPr lang="nl-NL" dirty="0"/>
            </a:br>
            <a:r>
              <a:rPr lang="nl-NL" dirty="0"/>
              <a:t>Gemeentefonds belangrijkste inkomstenbron voor gemeenten</a:t>
            </a:r>
          </a:p>
        </p:txBody>
      </p:sp>
      <p:sp>
        <p:nvSpPr>
          <p:cNvPr id="40" name="Slide Number Placeholder 4">
            <a:extLst>
              <a:ext uri="{FF2B5EF4-FFF2-40B4-BE49-F238E27FC236}">
                <a16:creationId xmlns:a16="http://schemas.microsoft.com/office/drawing/2014/main" id="{758CB222-1FA2-496B-8E59-CF71752F269C}"/>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4</a:t>
            </a:fld>
            <a:endParaRPr lang="nl-NL" noProof="0" dirty="0"/>
          </a:p>
        </p:txBody>
      </p:sp>
      <p:sp>
        <p:nvSpPr>
          <p:cNvPr id="30" name="TextBox 29">
            <a:extLst>
              <a:ext uri="{FF2B5EF4-FFF2-40B4-BE49-F238E27FC236}">
                <a16:creationId xmlns:a16="http://schemas.microsoft.com/office/drawing/2014/main" id="{098B9B2A-CD0C-494A-9FAD-4305E8E4EE91}"/>
              </a:ext>
            </a:extLst>
          </p:cNvPr>
          <p:cNvSpPr txBox="1"/>
          <p:nvPr/>
        </p:nvSpPr>
        <p:spPr>
          <a:xfrm>
            <a:off x="658813" y="1731347"/>
            <a:ext cx="4818256" cy="4401205"/>
          </a:xfrm>
          <a:prstGeom prst="rect">
            <a:avLst/>
          </a:prstGeom>
          <a:noFill/>
        </p:spPr>
        <p:txBody>
          <a:bodyPr wrap="square" anchor="ctr">
            <a:spAutoFit/>
          </a:bodyPr>
          <a:lstStyle/>
          <a:p>
            <a:pPr marL="0" indent="0">
              <a:buNone/>
            </a:pPr>
            <a:r>
              <a:rPr lang="nl-NL" sz="1600" noProof="0" dirty="0"/>
              <a:t>Gemeenten hebben geld nodig om hun uitgaven te financieren. Een groot deel (ca. 50%) van dit geld komt uit Rijksbijdragen in de vorm van het </a:t>
            </a:r>
            <a:r>
              <a:rPr lang="nl-NL" sz="1600" b="1" noProof="0" dirty="0"/>
              <a:t>gemeentefonds</a:t>
            </a:r>
            <a:r>
              <a:rPr lang="nl-NL" sz="1600" noProof="0" dirty="0"/>
              <a:t>. Dit bedrag kan door gemeenten naar eigen inzicht worden ingezet om (wettelijke) taken uit te voeren. </a:t>
            </a:r>
            <a:br>
              <a:rPr lang="nl-NL" sz="1600" noProof="0" dirty="0"/>
            </a:br>
            <a:endParaRPr lang="nl-NL" noProof="0" dirty="0"/>
          </a:p>
          <a:p>
            <a:pPr marL="0" indent="0">
              <a:buNone/>
            </a:pPr>
            <a:r>
              <a:rPr lang="nl-NL" sz="1600" noProof="0" dirty="0"/>
              <a:t>Naast het gemeentefonds ontvangen gemeenten geld van het Rijk via specifieke uitkeringen en subsidies; vaak met specifieke bestedingsdoeleinden. </a:t>
            </a:r>
            <a:r>
              <a:rPr lang="nl-NL" sz="1600" dirty="0"/>
              <a:t>Bovendien</a:t>
            </a:r>
            <a:r>
              <a:rPr lang="nl-NL" sz="1600" noProof="0" dirty="0"/>
              <a:t> genereren gemeenten </a:t>
            </a:r>
            <a:r>
              <a:rPr lang="nl-NL" sz="1600" b="1" noProof="0" dirty="0"/>
              <a:t>eigen inkomsten</a:t>
            </a:r>
            <a:r>
              <a:rPr lang="nl-NL" sz="1600" noProof="0" dirty="0"/>
              <a:t> uit lokaal belasting</a:t>
            </a:r>
            <a:r>
              <a:rPr lang="nl-NL" sz="1600" dirty="0"/>
              <a:t>geld (op bijv. woningbezit) en kunnen ze geld inzetten uit eigen middelen (zoals reserves). </a:t>
            </a:r>
          </a:p>
          <a:p>
            <a:pPr marL="0" indent="0">
              <a:buNone/>
            </a:pPr>
            <a:endParaRPr lang="nl-NL" dirty="0"/>
          </a:p>
          <a:p>
            <a:pPr marL="0" indent="0">
              <a:buNone/>
            </a:pPr>
            <a:r>
              <a:rPr lang="nl-NL" sz="1600" noProof="0" dirty="0" err="1"/>
              <a:t>Uitgangs</a:t>
            </a:r>
            <a:r>
              <a:rPr lang="nl-NL" sz="1600" dirty="0"/>
              <a:t>punt bij de verdeling van het gemeentefonds is de mogelijkheid voor gemeenten om een </a:t>
            </a:r>
            <a:r>
              <a:rPr lang="nl-NL" sz="1600" b="1" dirty="0"/>
              <a:t>gelijk voorzieningenniveau</a:t>
            </a:r>
            <a:r>
              <a:rPr lang="nl-NL" sz="1600" dirty="0"/>
              <a:t> te kunnen realiseren. Rijke gemeenten met hoge mogelijke inkomsten uit OZB worden als gevolg hiervan gekort bij de verdeling van de algemene uitkering (zie nettering volgende pagina).</a:t>
            </a:r>
          </a:p>
        </p:txBody>
      </p:sp>
      <p:sp>
        <p:nvSpPr>
          <p:cNvPr id="44" name="Footer Placeholder 3">
            <a:extLst>
              <a:ext uri="{FF2B5EF4-FFF2-40B4-BE49-F238E27FC236}">
                <a16:creationId xmlns:a16="http://schemas.microsoft.com/office/drawing/2014/main" id="{49C9A470-C7E3-4DD6-BBFF-FD1EB594E43B}"/>
              </a:ext>
            </a:extLst>
          </p:cNvPr>
          <p:cNvSpPr>
            <a:spLocks noGrp="1"/>
          </p:cNvSpPr>
          <p:nvPr>
            <p:ph type="ftr" sz="quarter" idx="3"/>
          </p:nvPr>
        </p:nvSpPr>
        <p:spPr>
          <a:xfrm>
            <a:off x="661800" y="6686783"/>
            <a:ext cx="10868400" cy="122400"/>
          </a:xfrm>
        </p:spPr>
        <p:txBody>
          <a:bodyPr/>
          <a:lstStyle/>
          <a:p>
            <a:r>
              <a:rPr lang="nl-NL" dirty="0"/>
              <a:t>Bron: Ministerie van BZK: rapport ‘Rekening houden met verschil’ (2017); Kennis openbaar bestuur (2018) </a:t>
            </a:r>
          </a:p>
        </p:txBody>
      </p:sp>
      <p:sp>
        <p:nvSpPr>
          <p:cNvPr id="33" name="Text Placeholder 7">
            <a:extLst>
              <a:ext uri="{FF2B5EF4-FFF2-40B4-BE49-F238E27FC236}">
                <a16:creationId xmlns:a16="http://schemas.microsoft.com/office/drawing/2014/main" id="{F03F579A-7850-49E4-ACDE-59A81C98A1DD}"/>
              </a:ext>
            </a:extLst>
          </p:cNvPr>
          <p:cNvSpPr txBox="1">
            <a:spLocks/>
          </p:cNvSpPr>
          <p:nvPr/>
        </p:nvSpPr>
        <p:spPr>
          <a:xfrm>
            <a:off x="664788" y="6565687"/>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endParaRPr lang="nl-NL" sz="800" dirty="0"/>
          </a:p>
          <a:p>
            <a:pPr marL="0" indent="0">
              <a:buNone/>
            </a:pPr>
            <a:r>
              <a:rPr lang="nl-NL" sz="800" noProof="0" dirty="0"/>
              <a:t>1. De verhouding tussen Rijksbijdragen en eigen inkomsten is gebaseerd op data uit 2018 </a:t>
            </a:r>
            <a:endParaRPr lang="nl-NL" sz="800" dirty="0"/>
          </a:p>
        </p:txBody>
      </p:sp>
      <p:graphicFrame>
        <p:nvGraphicFramePr>
          <p:cNvPr id="28" name="Chart 27">
            <a:extLst>
              <a:ext uri="{FF2B5EF4-FFF2-40B4-BE49-F238E27FC236}">
                <a16:creationId xmlns:a16="http://schemas.microsoft.com/office/drawing/2014/main" id="{C6DA67FE-4C79-4A86-A9FF-4B19C03A909F}"/>
              </a:ext>
            </a:extLst>
          </p:cNvPr>
          <p:cNvGraphicFramePr/>
          <p:nvPr>
            <p:extLst>
              <p:ext uri="{D42A27DB-BD31-4B8C-83A1-F6EECF244321}">
                <p14:modId xmlns:p14="http://schemas.microsoft.com/office/powerpoint/2010/main" val="3778372654"/>
              </p:ext>
            </p:extLst>
          </p:nvPr>
        </p:nvGraphicFramePr>
        <p:xfrm>
          <a:off x="6099968" y="1636346"/>
          <a:ext cx="5646336" cy="4652226"/>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a:extLst>
              <a:ext uri="{FF2B5EF4-FFF2-40B4-BE49-F238E27FC236}">
                <a16:creationId xmlns:a16="http://schemas.microsoft.com/office/drawing/2014/main" id="{DEF4CDA0-9DB5-4B9A-8805-EB720F7A71DD}"/>
              </a:ext>
            </a:extLst>
          </p:cNvPr>
          <p:cNvSpPr txBox="1"/>
          <p:nvPr/>
        </p:nvSpPr>
        <p:spPr>
          <a:xfrm>
            <a:off x="8818376" y="3608676"/>
            <a:ext cx="1350860" cy="323273"/>
          </a:xfrm>
          <a:prstGeom prst="rect">
            <a:avLst/>
          </a:prstGeom>
        </p:spPr>
        <p:txBody>
          <a:bodyPr vert="horz" wrap="none" lIns="91440" tIns="45720" rIns="91440" bIns="45720" rtlCol="0">
            <a:noAutofit/>
          </a:bodyPr>
          <a:lstStyle/>
          <a:p>
            <a:pPr marL="0" indent="0" algn="l">
              <a:buNone/>
            </a:pPr>
            <a:r>
              <a:rPr lang="nl-NL" dirty="0">
                <a:solidFill>
                  <a:srgbClr val="FFFFFF"/>
                </a:solidFill>
              </a:rPr>
              <a:t>Gemeentefonds</a:t>
            </a:r>
            <a:endParaRPr lang="nl-NL" noProof="0" dirty="0">
              <a:solidFill>
                <a:srgbClr val="FFFFFF"/>
              </a:solidFill>
            </a:endParaRPr>
          </a:p>
        </p:txBody>
      </p:sp>
      <p:sp>
        <p:nvSpPr>
          <p:cNvPr id="12" name="TextBox 11">
            <a:extLst>
              <a:ext uri="{FF2B5EF4-FFF2-40B4-BE49-F238E27FC236}">
                <a16:creationId xmlns:a16="http://schemas.microsoft.com/office/drawing/2014/main" id="{A9CC729C-3048-476B-818D-D9FEF9956D06}"/>
              </a:ext>
            </a:extLst>
          </p:cNvPr>
          <p:cNvSpPr txBox="1"/>
          <p:nvPr/>
        </p:nvSpPr>
        <p:spPr>
          <a:xfrm>
            <a:off x="7222836" y="3377774"/>
            <a:ext cx="1350860" cy="323273"/>
          </a:xfrm>
          <a:prstGeom prst="rect">
            <a:avLst/>
          </a:prstGeom>
        </p:spPr>
        <p:txBody>
          <a:bodyPr vert="horz" wrap="none" lIns="91440" tIns="45720" rIns="91440" bIns="45720" rtlCol="0">
            <a:noAutofit/>
          </a:bodyPr>
          <a:lstStyle/>
          <a:p>
            <a:pPr marL="0" indent="0" algn="l">
              <a:buNone/>
            </a:pPr>
            <a:r>
              <a:rPr lang="nl-NL" dirty="0"/>
              <a:t>Eigen inkomsten</a:t>
            </a:r>
            <a:endParaRPr lang="nl-NL" noProof="0" dirty="0"/>
          </a:p>
        </p:txBody>
      </p:sp>
      <p:sp>
        <p:nvSpPr>
          <p:cNvPr id="13" name="TextBox 12">
            <a:extLst>
              <a:ext uri="{FF2B5EF4-FFF2-40B4-BE49-F238E27FC236}">
                <a16:creationId xmlns:a16="http://schemas.microsoft.com/office/drawing/2014/main" id="{CB85CB8C-5633-457D-8315-C737678D52EE}"/>
              </a:ext>
            </a:extLst>
          </p:cNvPr>
          <p:cNvSpPr txBox="1"/>
          <p:nvPr/>
        </p:nvSpPr>
        <p:spPr>
          <a:xfrm>
            <a:off x="7362301" y="5285420"/>
            <a:ext cx="1350860" cy="323273"/>
          </a:xfrm>
          <a:prstGeom prst="rect">
            <a:avLst/>
          </a:prstGeom>
        </p:spPr>
        <p:txBody>
          <a:bodyPr vert="horz" wrap="none" lIns="91440" tIns="45720" rIns="91440" bIns="45720" rtlCol="0">
            <a:noAutofit/>
          </a:bodyPr>
          <a:lstStyle/>
          <a:p>
            <a:pPr marL="0" indent="0" algn="l">
              <a:buNone/>
            </a:pPr>
            <a:r>
              <a:rPr lang="nl-NL" dirty="0"/>
              <a:t>Overige </a:t>
            </a:r>
            <a:br>
              <a:rPr lang="nl-NL" dirty="0"/>
            </a:br>
            <a:r>
              <a:rPr lang="nl-NL" dirty="0"/>
              <a:t>Rijksinkomsten</a:t>
            </a:r>
            <a:endParaRPr lang="nl-NL" noProof="0" dirty="0"/>
          </a:p>
        </p:txBody>
      </p:sp>
    </p:spTree>
    <p:extLst>
      <p:ext uri="{BB962C8B-B14F-4D97-AF65-F5344CB8AC3E}">
        <p14:creationId xmlns:p14="http://schemas.microsoft.com/office/powerpoint/2010/main" val="1713281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614DCF7-03DC-44B2-86CA-DC6D3F06AB84}"/>
              </a:ext>
            </a:extLst>
          </p:cNvPr>
          <p:cNvGraphicFramePr>
            <a:graphicFrameLocks noChangeAspect="1"/>
          </p:cNvGraphicFramePr>
          <p:nvPr>
            <p:custDataLst>
              <p:tags r:id="rId2"/>
            </p:custDataLst>
            <p:extLst>
              <p:ext uri="{D42A27DB-BD31-4B8C-83A1-F6EECF244321}">
                <p14:modId xmlns:p14="http://schemas.microsoft.com/office/powerpoint/2010/main" val="2566002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0"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6614DCF7-03DC-44B2-86CA-DC6D3F06AB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Slide Number Placeholder 4">
            <a:extLst>
              <a:ext uri="{FF2B5EF4-FFF2-40B4-BE49-F238E27FC236}">
                <a16:creationId xmlns:a16="http://schemas.microsoft.com/office/drawing/2014/main" id="{758CB222-1FA2-496B-8E59-CF71752F269C}"/>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5</a:t>
            </a:fld>
            <a:endParaRPr lang="nl-NL" noProof="0" dirty="0"/>
          </a:p>
        </p:txBody>
      </p:sp>
      <p:sp>
        <p:nvSpPr>
          <p:cNvPr id="29" name="Rectangle: Rounded Corners 28">
            <a:extLst>
              <a:ext uri="{FF2B5EF4-FFF2-40B4-BE49-F238E27FC236}">
                <a16:creationId xmlns:a16="http://schemas.microsoft.com/office/drawing/2014/main" id="{5E74B3CE-0B03-4CD9-971A-321CF4798597}"/>
              </a:ext>
            </a:extLst>
          </p:cNvPr>
          <p:cNvSpPr/>
          <p:nvPr/>
        </p:nvSpPr>
        <p:spPr>
          <a:xfrm>
            <a:off x="727968" y="2034141"/>
            <a:ext cx="5329065" cy="1034249"/>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rgbClr val="FFFFFF"/>
                </a:solidFill>
                <a:latin typeface="+mn-lt"/>
              </a:rPr>
              <a:t>Algemene uitkering</a:t>
            </a:r>
          </a:p>
        </p:txBody>
      </p:sp>
      <p:sp>
        <p:nvSpPr>
          <p:cNvPr id="32" name="TextBox 31">
            <a:extLst>
              <a:ext uri="{FF2B5EF4-FFF2-40B4-BE49-F238E27FC236}">
                <a16:creationId xmlns:a16="http://schemas.microsoft.com/office/drawing/2014/main" id="{F8D93C85-FF3E-4486-8D5B-59E14BC98BDB}"/>
              </a:ext>
            </a:extLst>
          </p:cNvPr>
          <p:cNvSpPr txBox="1"/>
          <p:nvPr/>
        </p:nvSpPr>
        <p:spPr>
          <a:xfrm>
            <a:off x="651981" y="3756694"/>
            <a:ext cx="2748527" cy="1785124"/>
          </a:xfrm>
          <a:prstGeom prst="rect">
            <a:avLst/>
          </a:prstGeom>
        </p:spPr>
        <p:txBody>
          <a:bodyPr vert="horz" wrap="square" lIns="91440" tIns="45720" rIns="91440" bIns="45720" rtlCol="0">
            <a:noAutofit/>
          </a:bodyPr>
          <a:lstStyle/>
          <a:p>
            <a:pPr marL="0" indent="0">
              <a:buNone/>
            </a:pPr>
            <a:endParaRPr lang="nl-NL" dirty="0"/>
          </a:p>
          <a:p>
            <a:r>
              <a:rPr lang="nl-NL" dirty="0"/>
              <a:t>Gemeentelijk bedrag wordt bepaald op basis van in totaal </a:t>
            </a:r>
            <a:br>
              <a:rPr lang="nl-NL" dirty="0"/>
            </a:br>
            <a:r>
              <a:rPr lang="nl-NL" b="1" dirty="0"/>
              <a:t>84 verdeelmaatstaven</a:t>
            </a:r>
            <a:r>
              <a:rPr lang="nl-NL" dirty="0"/>
              <a:t> (zoals inwoners, uitkeringsontvangers) </a:t>
            </a:r>
            <a:br>
              <a:rPr lang="nl-NL" dirty="0"/>
            </a:br>
            <a:r>
              <a:rPr lang="nl-NL" dirty="0"/>
              <a:t>in </a:t>
            </a:r>
            <a:r>
              <a:rPr lang="nl-NL" b="1" dirty="0"/>
              <a:t>12 clusters </a:t>
            </a:r>
            <a:r>
              <a:rPr lang="nl-NL" dirty="0"/>
              <a:t>(Jeugd, Educatie)</a:t>
            </a:r>
            <a:br>
              <a:rPr lang="nl-NL" noProof="0" dirty="0"/>
            </a:br>
            <a:endParaRPr lang="nl-NL" noProof="0" dirty="0"/>
          </a:p>
          <a:p>
            <a:r>
              <a:rPr lang="nl-NL" b="1" noProof="0" dirty="0"/>
              <a:t>Totaal</a:t>
            </a:r>
            <a:r>
              <a:rPr lang="nl-NL" b="1" dirty="0"/>
              <a:t>bedrag: 31,5 </a:t>
            </a:r>
            <a:r>
              <a:rPr lang="nl-NL" b="1" dirty="0" err="1"/>
              <a:t>mld</a:t>
            </a:r>
            <a:endParaRPr lang="nl-NL" noProof="0" dirty="0"/>
          </a:p>
          <a:p>
            <a:pPr algn="l"/>
            <a:endParaRPr lang="nl-NL" noProof="0" dirty="0"/>
          </a:p>
        </p:txBody>
      </p:sp>
      <p:sp>
        <p:nvSpPr>
          <p:cNvPr id="33" name="TextBox 32">
            <a:extLst>
              <a:ext uri="{FF2B5EF4-FFF2-40B4-BE49-F238E27FC236}">
                <a16:creationId xmlns:a16="http://schemas.microsoft.com/office/drawing/2014/main" id="{4A84D8D9-A83E-479D-A5B8-D601DD861AAC}"/>
              </a:ext>
            </a:extLst>
          </p:cNvPr>
          <p:cNvSpPr txBox="1"/>
          <p:nvPr/>
        </p:nvSpPr>
        <p:spPr>
          <a:xfrm>
            <a:off x="3369126" y="3763534"/>
            <a:ext cx="2748526" cy="1785124"/>
          </a:xfrm>
          <a:prstGeom prst="rect">
            <a:avLst/>
          </a:prstGeom>
        </p:spPr>
        <p:txBody>
          <a:bodyPr vert="horz" wrap="square" lIns="91440" tIns="45720" rIns="91440" bIns="45720" rtlCol="0">
            <a:noAutofit/>
          </a:bodyPr>
          <a:lstStyle/>
          <a:p>
            <a:pPr marL="0" indent="0" algn="l">
              <a:buNone/>
            </a:pPr>
            <a:endParaRPr lang="nl-NL" dirty="0"/>
          </a:p>
          <a:p>
            <a:pPr algn="l"/>
            <a:r>
              <a:rPr lang="nl-NL" dirty="0"/>
              <a:t>Nettering afhankelijk van OZB- opbrengsten van een gemeente. Deze worden ondervangen door</a:t>
            </a:r>
            <a:br>
              <a:rPr lang="nl-NL" dirty="0"/>
            </a:br>
            <a:r>
              <a:rPr lang="nl-NL" b="1" dirty="0"/>
              <a:t>3 verdeelmaatstaven </a:t>
            </a:r>
            <a:r>
              <a:rPr lang="nl-NL" dirty="0"/>
              <a:t>in</a:t>
            </a:r>
            <a:r>
              <a:rPr lang="nl-NL" b="1" dirty="0"/>
              <a:t> cluster </a:t>
            </a:r>
            <a:r>
              <a:rPr lang="nl-NL" dirty="0"/>
              <a:t>Eigen middelen</a:t>
            </a:r>
            <a:br>
              <a:rPr lang="nl-NL" dirty="0"/>
            </a:br>
            <a:endParaRPr lang="nl-NL" noProof="0" dirty="0"/>
          </a:p>
          <a:p>
            <a:pPr algn="l"/>
            <a:r>
              <a:rPr lang="nl-NL" b="1" noProof="0" dirty="0"/>
              <a:t>Totaal</a:t>
            </a:r>
            <a:r>
              <a:rPr lang="nl-NL" b="1" dirty="0"/>
              <a:t>bedrag: - 2,6 </a:t>
            </a:r>
            <a:r>
              <a:rPr lang="nl-NL" b="1" dirty="0" err="1"/>
              <a:t>mld</a:t>
            </a:r>
            <a:endParaRPr lang="nl-NL" b="1" noProof="0" dirty="0"/>
          </a:p>
          <a:p>
            <a:pPr algn="l"/>
            <a:endParaRPr lang="nl-NL" noProof="0" dirty="0"/>
          </a:p>
        </p:txBody>
      </p:sp>
      <p:sp>
        <p:nvSpPr>
          <p:cNvPr id="34" name="Rectangle: Rounded Corners 33">
            <a:extLst>
              <a:ext uri="{FF2B5EF4-FFF2-40B4-BE49-F238E27FC236}">
                <a16:creationId xmlns:a16="http://schemas.microsoft.com/office/drawing/2014/main" id="{287BE28A-43A6-4B58-9055-D17D5F5FB4DF}"/>
              </a:ext>
            </a:extLst>
          </p:cNvPr>
          <p:cNvSpPr/>
          <p:nvPr/>
        </p:nvSpPr>
        <p:spPr>
          <a:xfrm>
            <a:off x="722513" y="3141911"/>
            <a:ext cx="2651419" cy="698626"/>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latin typeface="+mn-lt"/>
              </a:rPr>
              <a:t>Positief</a:t>
            </a:r>
          </a:p>
        </p:txBody>
      </p:sp>
      <p:sp>
        <p:nvSpPr>
          <p:cNvPr id="39" name="Rectangle: Rounded Corners 38">
            <a:extLst>
              <a:ext uri="{FF2B5EF4-FFF2-40B4-BE49-F238E27FC236}">
                <a16:creationId xmlns:a16="http://schemas.microsoft.com/office/drawing/2014/main" id="{C013FB34-C0E8-40D5-9AA4-CFE9A304DE63}"/>
              </a:ext>
            </a:extLst>
          </p:cNvPr>
          <p:cNvSpPr/>
          <p:nvPr/>
        </p:nvSpPr>
        <p:spPr>
          <a:xfrm>
            <a:off x="3445493" y="3141911"/>
            <a:ext cx="2611540" cy="698626"/>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latin typeface="+mn-lt"/>
              </a:rPr>
              <a:t>Nettering</a:t>
            </a:r>
            <a:endParaRPr lang="nl-NL" sz="1600" b="1" dirty="0">
              <a:solidFill>
                <a:srgbClr val="FFFFFF"/>
              </a:solidFill>
              <a:latin typeface="+mn-lt"/>
            </a:endParaRPr>
          </a:p>
        </p:txBody>
      </p:sp>
      <p:sp>
        <p:nvSpPr>
          <p:cNvPr id="65" name="Footer Placeholder 3">
            <a:extLst>
              <a:ext uri="{FF2B5EF4-FFF2-40B4-BE49-F238E27FC236}">
                <a16:creationId xmlns:a16="http://schemas.microsoft.com/office/drawing/2014/main" id="{B90EE77E-2E79-4A32-8E01-6A896C1F9616}"/>
              </a:ext>
            </a:extLst>
          </p:cNvPr>
          <p:cNvSpPr>
            <a:spLocks noGrp="1"/>
          </p:cNvSpPr>
          <p:nvPr>
            <p:ph type="ftr" sz="quarter" idx="3"/>
          </p:nvPr>
        </p:nvSpPr>
        <p:spPr>
          <a:xfrm>
            <a:off x="661800" y="6686783"/>
            <a:ext cx="10868400" cy="122400"/>
          </a:xfrm>
        </p:spPr>
        <p:txBody>
          <a:bodyPr/>
          <a:lstStyle/>
          <a:p>
            <a:r>
              <a:rPr lang="nl-NL" dirty="0"/>
              <a:t>Bron: Ministerie van BZK: rapport ‘Rekening houden met verschil’ (2017); Kennis openbaar bestuur (2018)  </a:t>
            </a:r>
          </a:p>
        </p:txBody>
      </p:sp>
      <p:sp>
        <p:nvSpPr>
          <p:cNvPr id="15" name="Rectangle: Rounded Corners 14">
            <a:extLst>
              <a:ext uri="{FF2B5EF4-FFF2-40B4-BE49-F238E27FC236}">
                <a16:creationId xmlns:a16="http://schemas.microsoft.com/office/drawing/2014/main" id="{7717B7F0-1B23-449A-A4A7-6470A6B55D33}"/>
              </a:ext>
            </a:extLst>
          </p:cNvPr>
          <p:cNvSpPr/>
          <p:nvPr/>
        </p:nvSpPr>
        <p:spPr>
          <a:xfrm>
            <a:off x="6185651" y="2034141"/>
            <a:ext cx="5329065" cy="1034249"/>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rgbClr val="FFFFFF"/>
                </a:solidFill>
                <a:latin typeface="+mn-lt"/>
              </a:rPr>
              <a:t>Aanvullende uitkering</a:t>
            </a:r>
          </a:p>
        </p:txBody>
      </p:sp>
      <p:sp>
        <p:nvSpPr>
          <p:cNvPr id="16" name="Rectangle: Rounded Corners 15">
            <a:extLst>
              <a:ext uri="{FF2B5EF4-FFF2-40B4-BE49-F238E27FC236}">
                <a16:creationId xmlns:a16="http://schemas.microsoft.com/office/drawing/2014/main" id="{131AF190-167F-4082-8299-AF0A8C764F18}"/>
              </a:ext>
            </a:extLst>
          </p:cNvPr>
          <p:cNvSpPr/>
          <p:nvPr/>
        </p:nvSpPr>
        <p:spPr>
          <a:xfrm>
            <a:off x="6180196" y="3141911"/>
            <a:ext cx="2651419" cy="698626"/>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latin typeface="+mn-lt"/>
              </a:rPr>
              <a:t>Integratie uitkering</a:t>
            </a:r>
          </a:p>
        </p:txBody>
      </p:sp>
      <p:sp>
        <p:nvSpPr>
          <p:cNvPr id="17" name="Rectangle: Rounded Corners 16">
            <a:extLst>
              <a:ext uri="{FF2B5EF4-FFF2-40B4-BE49-F238E27FC236}">
                <a16:creationId xmlns:a16="http://schemas.microsoft.com/office/drawing/2014/main" id="{08728065-BA23-4157-81B5-A5D3DD5A2C3D}"/>
              </a:ext>
            </a:extLst>
          </p:cNvPr>
          <p:cNvSpPr/>
          <p:nvPr/>
        </p:nvSpPr>
        <p:spPr>
          <a:xfrm>
            <a:off x="8903176" y="3141911"/>
            <a:ext cx="2611540" cy="698626"/>
          </a:xfrm>
          <a:prstGeom prst="roundRect">
            <a:avLst>
              <a:gd name="adj" fmla="val 4781"/>
            </a:avLst>
          </a:prstGeom>
          <a:solidFill>
            <a:srgbClr val="22777B"/>
          </a:solidFill>
          <a:ln w="19050"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latin typeface="+mn-lt"/>
              </a:rPr>
              <a:t>Decentralisatie uitkering </a:t>
            </a:r>
          </a:p>
          <a:p>
            <a:pPr marL="0" indent="0" algn="ctr">
              <a:buNone/>
            </a:pPr>
            <a:r>
              <a:rPr lang="nl-NL" b="1" dirty="0">
                <a:solidFill>
                  <a:srgbClr val="FFFFFF"/>
                </a:solidFill>
                <a:latin typeface="+mn-lt"/>
              </a:rPr>
              <a:t>(incl. art 12)</a:t>
            </a:r>
            <a:endParaRPr lang="nl-NL" sz="1600" b="1" dirty="0">
              <a:solidFill>
                <a:srgbClr val="FFFFFF"/>
              </a:solidFill>
              <a:latin typeface="+mn-lt"/>
            </a:endParaRPr>
          </a:p>
        </p:txBody>
      </p:sp>
      <p:sp>
        <p:nvSpPr>
          <p:cNvPr id="18" name="TextBox 17">
            <a:extLst>
              <a:ext uri="{FF2B5EF4-FFF2-40B4-BE49-F238E27FC236}">
                <a16:creationId xmlns:a16="http://schemas.microsoft.com/office/drawing/2014/main" id="{28B29069-10B5-422B-8E80-1B249EB9D953}"/>
              </a:ext>
            </a:extLst>
          </p:cNvPr>
          <p:cNvSpPr txBox="1"/>
          <p:nvPr/>
        </p:nvSpPr>
        <p:spPr>
          <a:xfrm>
            <a:off x="6113697" y="5906186"/>
            <a:ext cx="2748527" cy="1785124"/>
          </a:xfrm>
          <a:prstGeom prst="rect">
            <a:avLst/>
          </a:prstGeom>
        </p:spPr>
        <p:txBody>
          <a:bodyPr vert="horz" wrap="square" lIns="91440" tIns="45720" rIns="91440" bIns="45720" rtlCol="0">
            <a:noAutofit/>
          </a:bodyPr>
          <a:lstStyle/>
          <a:p>
            <a:pPr algn="l"/>
            <a:endParaRPr lang="nl-NL" noProof="0" dirty="0"/>
          </a:p>
        </p:txBody>
      </p:sp>
      <p:sp>
        <p:nvSpPr>
          <p:cNvPr id="19" name="TextBox 18">
            <a:extLst>
              <a:ext uri="{FF2B5EF4-FFF2-40B4-BE49-F238E27FC236}">
                <a16:creationId xmlns:a16="http://schemas.microsoft.com/office/drawing/2014/main" id="{A6551F53-19A9-4560-A4A5-4D9B28E40044}"/>
              </a:ext>
            </a:extLst>
          </p:cNvPr>
          <p:cNvSpPr txBox="1"/>
          <p:nvPr/>
        </p:nvSpPr>
        <p:spPr>
          <a:xfrm>
            <a:off x="8784662" y="5913026"/>
            <a:ext cx="2748526" cy="1792314"/>
          </a:xfrm>
          <a:prstGeom prst="rect">
            <a:avLst/>
          </a:prstGeom>
        </p:spPr>
        <p:txBody>
          <a:bodyPr vert="horz" wrap="square" lIns="91440" tIns="45720" rIns="91440" bIns="45720" rtlCol="0">
            <a:noAutofit/>
          </a:bodyPr>
          <a:lstStyle/>
          <a:p>
            <a:pPr marL="0" indent="0" algn="l">
              <a:buNone/>
            </a:pPr>
            <a:endParaRPr lang="nl-NL" b="1" noProof="0" dirty="0"/>
          </a:p>
        </p:txBody>
      </p:sp>
      <p:sp>
        <p:nvSpPr>
          <p:cNvPr id="20" name="TextBox 19">
            <a:extLst>
              <a:ext uri="{FF2B5EF4-FFF2-40B4-BE49-F238E27FC236}">
                <a16:creationId xmlns:a16="http://schemas.microsoft.com/office/drawing/2014/main" id="{6B9558A6-11FF-429A-BFBC-941C2C200284}"/>
              </a:ext>
            </a:extLst>
          </p:cNvPr>
          <p:cNvSpPr txBox="1"/>
          <p:nvPr/>
        </p:nvSpPr>
        <p:spPr>
          <a:xfrm>
            <a:off x="6107261" y="3749854"/>
            <a:ext cx="2748527" cy="1785124"/>
          </a:xfrm>
          <a:prstGeom prst="rect">
            <a:avLst/>
          </a:prstGeom>
        </p:spPr>
        <p:txBody>
          <a:bodyPr vert="horz" wrap="square" lIns="91440" tIns="45720" rIns="91440" bIns="45720" rtlCol="0">
            <a:noAutofit/>
          </a:bodyPr>
          <a:lstStyle/>
          <a:p>
            <a:pPr marL="0" indent="0">
              <a:buNone/>
            </a:pPr>
            <a:endParaRPr lang="nl-NL" dirty="0"/>
          </a:p>
          <a:p>
            <a:r>
              <a:rPr lang="nl-NL" dirty="0"/>
              <a:t>Bedrag relateert aan </a:t>
            </a:r>
            <a:r>
              <a:rPr lang="nl-NL" b="1" dirty="0"/>
              <a:t>13 taken </a:t>
            </a:r>
            <a:r>
              <a:rPr lang="nl-NL" dirty="0"/>
              <a:t>waarvan de verdeelmaatstaven nog niet definitief zijn bepaald. Deze worden toegewezen aan de </a:t>
            </a:r>
            <a:r>
              <a:rPr lang="nl-NL" b="1" dirty="0"/>
              <a:t>bijbehorende clusters </a:t>
            </a:r>
          </a:p>
          <a:p>
            <a:endParaRPr lang="nl-NL" b="1" noProof="0" dirty="0"/>
          </a:p>
          <a:p>
            <a:r>
              <a:rPr lang="nl-NL" b="1" noProof="0" dirty="0"/>
              <a:t>Totaal</a:t>
            </a:r>
            <a:r>
              <a:rPr lang="nl-NL" b="1" dirty="0"/>
              <a:t>bedrag: 4,5 </a:t>
            </a:r>
            <a:r>
              <a:rPr lang="nl-NL" b="1" dirty="0" err="1"/>
              <a:t>mld</a:t>
            </a:r>
            <a:endParaRPr lang="nl-NL" noProof="0" dirty="0"/>
          </a:p>
          <a:p>
            <a:pPr algn="l"/>
            <a:endParaRPr lang="nl-NL" noProof="0" dirty="0"/>
          </a:p>
        </p:txBody>
      </p:sp>
      <p:sp>
        <p:nvSpPr>
          <p:cNvPr id="23" name="TextBox 22">
            <a:extLst>
              <a:ext uri="{FF2B5EF4-FFF2-40B4-BE49-F238E27FC236}">
                <a16:creationId xmlns:a16="http://schemas.microsoft.com/office/drawing/2014/main" id="{60F67F83-FEEC-4243-86B9-CD329CEC5450}"/>
              </a:ext>
            </a:extLst>
          </p:cNvPr>
          <p:cNvSpPr txBox="1"/>
          <p:nvPr/>
        </p:nvSpPr>
        <p:spPr>
          <a:xfrm>
            <a:off x="8824406" y="3756694"/>
            <a:ext cx="2748526" cy="1785124"/>
          </a:xfrm>
          <a:prstGeom prst="rect">
            <a:avLst/>
          </a:prstGeom>
        </p:spPr>
        <p:txBody>
          <a:bodyPr vert="horz" wrap="square" lIns="91440" tIns="45720" rIns="91440" bIns="45720" rtlCol="0">
            <a:noAutofit/>
          </a:bodyPr>
          <a:lstStyle/>
          <a:p>
            <a:pPr marL="0" indent="0" algn="l">
              <a:buNone/>
            </a:pPr>
            <a:endParaRPr lang="nl-NL" dirty="0"/>
          </a:p>
          <a:p>
            <a:pPr algn="l"/>
            <a:r>
              <a:rPr lang="nl-NL" dirty="0"/>
              <a:t>Bedrag relateert aan </a:t>
            </a:r>
            <a:r>
              <a:rPr lang="nl-NL" b="1" dirty="0"/>
              <a:t>43 kortlopende, gemeente-specifieke taken </a:t>
            </a:r>
            <a:r>
              <a:rPr lang="nl-NL" dirty="0"/>
              <a:t>en worden toegewezen aan </a:t>
            </a:r>
            <a:r>
              <a:rPr lang="nl-NL" b="1" dirty="0"/>
              <a:t>bijbehorende clusters</a:t>
            </a:r>
            <a:br>
              <a:rPr lang="nl-NL" dirty="0"/>
            </a:br>
            <a:endParaRPr lang="nl-NL" noProof="0" dirty="0"/>
          </a:p>
          <a:p>
            <a:pPr algn="l"/>
            <a:r>
              <a:rPr lang="nl-NL" b="1" noProof="0" dirty="0"/>
              <a:t>Totaal</a:t>
            </a:r>
            <a:r>
              <a:rPr lang="nl-NL" b="1" dirty="0"/>
              <a:t>bedrag: 1,2 </a:t>
            </a:r>
            <a:r>
              <a:rPr lang="nl-NL" b="1" dirty="0" err="1"/>
              <a:t>mld</a:t>
            </a:r>
            <a:endParaRPr lang="nl-NL" b="1" noProof="0" dirty="0"/>
          </a:p>
        </p:txBody>
      </p:sp>
      <p:sp>
        <p:nvSpPr>
          <p:cNvPr id="24" name="Rectangle: Rounded Corners 23">
            <a:extLst>
              <a:ext uri="{FF2B5EF4-FFF2-40B4-BE49-F238E27FC236}">
                <a16:creationId xmlns:a16="http://schemas.microsoft.com/office/drawing/2014/main" id="{0B2C9AD8-E08C-4099-8643-B067AAECA8E1}"/>
              </a:ext>
            </a:extLst>
          </p:cNvPr>
          <p:cNvSpPr/>
          <p:nvPr/>
        </p:nvSpPr>
        <p:spPr>
          <a:xfrm>
            <a:off x="664348" y="1831520"/>
            <a:ext cx="5457632" cy="4477205"/>
          </a:xfrm>
          <a:prstGeom prst="roundRect">
            <a:avLst>
              <a:gd name="adj" fmla="val 1809"/>
            </a:avLst>
          </a:prstGeom>
          <a:noFill/>
          <a:ln w="3810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endParaRPr lang="nl-NL" dirty="0">
              <a:ln w="19050">
                <a:solidFill>
                  <a:schemeClr val="tx1"/>
                </a:solidFill>
              </a:ln>
            </a:endParaRPr>
          </a:p>
        </p:txBody>
      </p:sp>
      <p:sp>
        <p:nvSpPr>
          <p:cNvPr id="25" name="Rectangle: Rounded Corners 24">
            <a:extLst>
              <a:ext uri="{FF2B5EF4-FFF2-40B4-BE49-F238E27FC236}">
                <a16:creationId xmlns:a16="http://schemas.microsoft.com/office/drawing/2014/main" id="{E4D818D9-CF48-41ED-B814-D3F986BED0DD}"/>
              </a:ext>
            </a:extLst>
          </p:cNvPr>
          <p:cNvSpPr/>
          <p:nvPr/>
        </p:nvSpPr>
        <p:spPr>
          <a:xfrm>
            <a:off x="6161773" y="1880919"/>
            <a:ext cx="5427682" cy="4477205"/>
          </a:xfrm>
          <a:prstGeom prst="roundRect">
            <a:avLst>
              <a:gd name="adj" fmla="val 1809"/>
            </a:avLst>
          </a:prstGeom>
          <a:solidFill>
            <a:schemeClr val="bg1">
              <a:alpha val="60000"/>
            </a:schemeClr>
          </a:solidFill>
          <a:ln w="28575" cap="flat">
            <a:no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endParaRPr lang="nl-NL" dirty="0">
              <a:ln w="19050">
                <a:solidFill>
                  <a:schemeClr val="tx1"/>
                </a:solidFill>
              </a:ln>
            </a:endParaRPr>
          </a:p>
        </p:txBody>
      </p:sp>
      <p:sp>
        <p:nvSpPr>
          <p:cNvPr id="3" name="Title 2">
            <a:extLst>
              <a:ext uri="{FF2B5EF4-FFF2-40B4-BE49-F238E27FC236}">
                <a16:creationId xmlns:a16="http://schemas.microsoft.com/office/drawing/2014/main" id="{96EC9F5B-3780-46FE-A5F6-93FA8212D3DF}"/>
              </a:ext>
            </a:extLst>
          </p:cNvPr>
          <p:cNvSpPr>
            <a:spLocks noGrp="1"/>
          </p:cNvSpPr>
          <p:nvPr>
            <p:ph type="title"/>
          </p:nvPr>
        </p:nvSpPr>
        <p:spPr/>
        <p:txBody>
          <a:bodyPr/>
          <a:lstStyle/>
          <a:p>
            <a:r>
              <a:rPr lang="nl-NL" dirty="0"/>
              <a:t>De totale uitkering gemeentefondsuitkering bestaat uit een algemeen en aanvullend deel</a:t>
            </a:r>
          </a:p>
        </p:txBody>
      </p:sp>
      <p:sp>
        <p:nvSpPr>
          <p:cNvPr id="26" name="Rectangle 25">
            <a:extLst>
              <a:ext uri="{FF2B5EF4-FFF2-40B4-BE49-F238E27FC236}">
                <a16:creationId xmlns:a16="http://schemas.microsoft.com/office/drawing/2014/main" id="{CBC59EE5-B8C0-4856-B6D8-27DDEDCDE50C}"/>
              </a:ext>
            </a:extLst>
          </p:cNvPr>
          <p:cNvSpPr/>
          <p:nvPr/>
        </p:nvSpPr>
        <p:spPr>
          <a:xfrm>
            <a:off x="1831723" y="6008159"/>
            <a:ext cx="3068119" cy="303665"/>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800" dirty="0"/>
              <a:t>Focus van dit document</a:t>
            </a:r>
            <a:endParaRPr kumimoji="0" lang="nl-NL" sz="18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583046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691" name="Object 114690" hidden="1">
            <a:extLst>
              <a:ext uri="{FF2B5EF4-FFF2-40B4-BE49-F238E27FC236}">
                <a16:creationId xmlns:a16="http://schemas.microsoft.com/office/drawing/2014/main" id="{55B93201-2A43-40BC-9D6B-7818481D9716}"/>
              </a:ext>
            </a:extLst>
          </p:cNvPr>
          <p:cNvGraphicFramePr>
            <a:graphicFrameLocks noChangeAspect="1"/>
          </p:cNvGraphicFramePr>
          <p:nvPr>
            <p:custDataLst>
              <p:tags r:id="rId2"/>
            </p:custDataLst>
            <p:extLst>
              <p:ext uri="{D42A27DB-BD31-4B8C-83A1-F6EECF244321}">
                <p14:modId xmlns:p14="http://schemas.microsoft.com/office/powerpoint/2010/main" val="1363012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07"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4" name="Picture 123" descr="Icon&#10;&#10;Description automatically generated">
            <a:extLst>
              <a:ext uri="{FF2B5EF4-FFF2-40B4-BE49-F238E27FC236}">
                <a16:creationId xmlns:a16="http://schemas.microsoft.com/office/drawing/2014/main" id="{0F409FCC-034F-494E-B1C1-A1B7AEFB9462}"/>
              </a:ext>
            </a:extLst>
          </p:cNvPr>
          <p:cNvPicPr>
            <a:picLocks noChangeAspect="1"/>
          </p:cNvPicPr>
          <p:nvPr/>
        </p:nvPicPr>
        <p:blipFill>
          <a:blip r:embed="rId6">
            <a:alphaModFix amt="35000"/>
            <a:extLst>
              <a:ext uri="{BEBA8EAE-BF5A-486C-A8C5-ECC9F3942E4B}">
                <a14:imgProps xmlns:a14="http://schemas.microsoft.com/office/drawing/2010/main">
                  <a14:imgLayer r:embed="rId7">
                    <a14:imgEffect>
                      <a14:colorTemperature colorTemp="5050"/>
                    </a14:imgEffect>
                    <a14:imgEffect>
                      <a14:saturation sat="66000"/>
                    </a14:imgEffect>
                  </a14:imgLayer>
                </a14:imgProps>
              </a:ext>
            </a:extLst>
          </a:blip>
          <a:stretch>
            <a:fillRect/>
          </a:stretch>
        </p:blipFill>
        <p:spPr>
          <a:xfrm>
            <a:off x="6142743" y="1968294"/>
            <a:ext cx="1614563" cy="1614563"/>
          </a:xfrm>
          <a:prstGeom prst="rect">
            <a:avLst/>
          </a:prstGeom>
          <a:noFill/>
          <a:extLst>
            <a:ext uri="{909E8E84-426E-40DD-AFC4-6F175D3DCCD1}">
              <a14:hiddenFill xmlns:a14="http://schemas.microsoft.com/office/drawing/2010/main">
                <a:solidFill>
                  <a:srgbClr val="22777B"/>
                </a:solidFill>
              </a14:hiddenFill>
            </a:ext>
          </a:extLst>
        </p:spPr>
      </p:pic>
      <p:sp>
        <p:nvSpPr>
          <p:cNvPr id="114719" name="Rectangle 114718">
            <a:extLst>
              <a:ext uri="{FF2B5EF4-FFF2-40B4-BE49-F238E27FC236}">
                <a16:creationId xmlns:a16="http://schemas.microsoft.com/office/drawing/2014/main" id="{DE5A95C8-B1A3-410A-80A4-73CACA831070}"/>
              </a:ext>
            </a:extLst>
          </p:cNvPr>
          <p:cNvSpPr/>
          <p:nvPr/>
        </p:nvSpPr>
        <p:spPr>
          <a:xfrm>
            <a:off x="6572690" y="2670901"/>
            <a:ext cx="730790" cy="684388"/>
          </a:xfrm>
          <a:prstGeom prst="rect">
            <a:avLst/>
          </a:prstGeom>
          <a:solidFill>
            <a:schemeClr val="bg1"/>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4" name="Footer Placeholder 3">
            <a:extLst>
              <a:ext uri="{FF2B5EF4-FFF2-40B4-BE49-F238E27FC236}">
                <a16:creationId xmlns:a16="http://schemas.microsoft.com/office/drawing/2014/main" id="{3CBE819D-6AE4-47AF-BD29-D985271563E0}"/>
              </a:ext>
            </a:extLst>
          </p:cNvPr>
          <p:cNvSpPr>
            <a:spLocks noGrp="1"/>
          </p:cNvSpPr>
          <p:nvPr>
            <p:ph type="ftr" sz="quarter" idx="3"/>
          </p:nvPr>
        </p:nvSpPr>
        <p:spPr/>
        <p:txBody>
          <a:bodyPr/>
          <a:lstStyle/>
          <a:p>
            <a:r>
              <a:rPr lang="nl-NL" dirty="0"/>
              <a:t>Bron: Kennis openbaar bestuur (2018) </a:t>
            </a:r>
          </a:p>
        </p:txBody>
      </p:sp>
      <p:sp>
        <p:nvSpPr>
          <p:cNvPr id="5" name="Slide Number Placeholder 4">
            <a:extLst>
              <a:ext uri="{FF2B5EF4-FFF2-40B4-BE49-F238E27FC236}">
                <a16:creationId xmlns:a16="http://schemas.microsoft.com/office/drawing/2014/main" id="{27FC1B2C-564B-45C0-BEB1-1385F0D1F728}"/>
              </a:ext>
            </a:extLst>
          </p:cNvPr>
          <p:cNvSpPr>
            <a:spLocks noGrp="1"/>
          </p:cNvSpPr>
          <p:nvPr>
            <p:ph type="sldNum" sz="quarter" idx="12"/>
          </p:nvPr>
        </p:nvSpPr>
        <p:spPr/>
        <p:txBody>
          <a:bodyPr/>
          <a:lstStyle/>
          <a:p>
            <a:fld id="{992CD0B2-8AB2-4C6C-8876-E15753662C9B}" type="slidenum">
              <a:rPr lang="nl-NL" noProof="0" smtClean="0"/>
              <a:pPr/>
              <a:t>6</a:t>
            </a:fld>
            <a:endParaRPr lang="nl-NL" noProof="0" dirty="0"/>
          </a:p>
        </p:txBody>
      </p:sp>
      <p:sp>
        <p:nvSpPr>
          <p:cNvPr id="6" name="Text Placeholder 5">
            <a:extLst>
              <a:ext uri="{FF2B5EF4-FFF2-40B4-BE49-F238E27FC236}">
                <a16:creationId xmlns:a16="http://schemas.microsoft.com/office/drawing/2014/main" id="{819E2244-BF75-43E9-A72E-9B30A65EC587}"/>
              </a:ext>
            </a:extLst>
          </p:cNvPr>
          <p:cNvSpPr>
            <a:spLocks noGrp="1"/>
          </p:cNvSpPr>
          <p:nvPr>
            <p:ph type="body" sz="quarter" idx="14"/>
          </p:nvPr>
        </p:nvSpPr>
        <p:spPr/>
        <p:txBody>
          <a:bodyPr/>
          <a:lstStyle/>
          <a:p>
            <a:r>
              <a:rPr lang="nl-NL" dirty="0"/>
              <a:t>Conceptuele weergave van werking van het gemeentefonds</a:t>
            </a:r>
          </a:p>
        </p:txBody>
      </p:sp>
      <p:sp>
        <p:nvSpPr>
          <p:cNvPr id="7" name="Title 6">
            <a:extLst>
              <a:ext uri="{FF2B5EF4-FFF2-40B4-BE49-F238E27FC236}">
                <a16:creationId xmlns:a16="http://schemas.microsoft.com/office/drawing/2014/main" id="{AC981246-3E62-442E-9371-148F4E616525}"/>
              </a:ext>
            </a:extLst>
          </p:cNvPr>
          <p:cNvSpPr>
            <a:spLocks noGrp="1"/>
          </p:cNvSpPr>
          <p:nvPr>
            <p:ph type="title"/>
          </p:nvPr>
        </p:nvSpPr>
        <p:spPr/>
        <p:txBody>
          <a:bodyPr vert="horz"/>
          <a:lstStyle/>
          <a:p>
            <a:r>
              <a:rPr lang="nl-NL" dirty="0"/>
              <a:t>Eerst wordt de totale omvang van het gemeentefonds bepaald, vervolgens de verdeling over de gemeenten</a:t>
            </a:r>
          </a:p>
        </p:txBody>
      </p:sp>
      <p:grpSp>
        <p:nvGrpSpPr>
          <p:cNvPr id="8" name="Google Shape;400;p2">
            <a:extLst>
              <a:ext uri="{FF2B5EF4-FFF2-40B4-BE49-F238E27FC236}">
                <a16:creationId xmlns:a16="http://schemas.microsoft.com/office/drawing/2014/main" id="{E6B6083D-123C-4C11-ABC3-72CA1A3F35E0}"/>
              </a:ext>
            </a:extLst>
          </p:cNvPr>
          <p:cNvGrpSpPr/>
          <p:nvPr/>
        </p:nvGrpSpPr>
        <p:grpSpPr>
          <a:xfrm>
            <a:off x="6558153" y="1636346"/>
            <a:ext cx="3943578" cy="4638009"/>
            <a:chOff x="1043430" y="1070068"/>
            <a:chExt cx="4324005" cy="5085427"/>
          </a:xfrm>
          <a:solidFill>
            <a:srgbClr val="DBDBDB"/>
          </a:solidFill>
        </p:grpSpPr>
        <p:sp>
          <p:nvSpPr>
            <p:cNvPr id="9" name="Google Shape;401;p2">
              <a:extLst>
                <a:ext uri="{FF2B5EF4-FFF2-40B4-BE49-F238E27FC236}">
                  <a16:creationId xmlns:a16="http://schemas.microsoft.com/office/drawing/2014/main" id="{C29F476B-7177-4E80-8D31-B87FDC73DB03}"/>
                </a:ext>
              </a:extLst>
            </p:cNvPr>
            <p:cNvSpPr/>
            <p:nvPr/>
          </p:nvSpPr>
          <p:spPr>
            <a:xfrm>
              <a:off x="4147460" y="1707888"/>
              <a:ext cx="1082998" cy="1082997"/>
            </a:xfrm>
            <a:custGeom>
              <a:avLst/>
              <a:gdLst/>
              <a:ahLst/>
              <a:cxnLst/>
              <a:rect l="l" t="t" r="r" b="b"/>
              <a:pathLst>
                <a:path w="476250" h="476250" extrusionOk="0">
                  <a:moveTo>
                    <a:pt x="168137" y="5812"/>
                  </a:moveTo>
                  <a:lnTo>
                    <a:pt x="160755" y="9502"/>
                  </a:lnTo>
                  <a:lnTo>
                    <a:pt x="157068" y="13192"/>
                  </a:lnTo>
                  <a:lnTo>
                    <a:pt x="157068" y="16882"/>
                  </a:lnTo>
                  <a:lnTo>
                    <a:pt x="149687" y="20573"/>
                  </a:lnTo>
                  <a:lnTo>
                    <a:pt x="142305" y="24264"/>
                  </a:lnTo>
                  <a:lnTo>
                    <a:pt x="138619" y="27954"/>
                  </a:lnTo>
                  <a:lnTo>
                    <a:pt x="138619" y="31645"/>
                  </a:lnTo>
                  <a:lnTo>
                    <a:pt x="134932" y="35335"/>
                  </a:lnTo>
                  <a:lnTo>
                    <a:pt x="131237" y="42717"/>
                  </a:lnTo>
                  <a:lnTo>
                    <a:pt x="127550" y="46407"/>
                  </a:lnTo>
                  <a:lnTo>
                    <a:pt x="127550" y="50098"/>
                  </a:lnTo>
                  <a:lnTo>
                    <a:pt x="120169" y="68551"/>
                  </a:lnTo>
                  <a:lnTo>
                    <a:pt x="120169" y="72242"/>
                  </a:lnTo>
                  <a:lnTo>
                    <a:pt x="120169" y="83313"/>
                  </a:lnTo>
                  <a:lnTo>
                    <a:pt x="116482" y="83313"/>
                  </a:lnTo>
                  <a:lnTo>
                    <a:pt x="112796" y="98075"/>
                  </a:lnTo>
                  <a:lnTo>
                    <a:pt x="109110" y="98075"/>
                  </a:lnTo>
                  <a:lnTo>
                    <a:pt x="98042" y="94385"/>
                  </a:lnTo>
                  <a:lnTo>
                    <a:pt x="94346" y="101765"/>
                  </a:lnTo>
                  <a:lnTo>
                    <a:pt x="105414" y="109147"/>
                  </a:lnTo>
                  <a:lnTo>
                    <a:pt x="116482" y="109147"/>
                  </a:lnTo>
                  <a:lnTo>
                    <a:pt x="123864" y="112837"/>
                  </a:lnTo>
                  <a:lnTo>
                    <a:pt x="120169" y="123909"/>
                  </a:lnTo>
                  <a:lnTo>
                    <a:pt x="120169" y="134981"/>
                  </a:lnTo>
                  <a:lnTo>
                    <a:pt x="120169" y="138672"/>
                  </a:lnTo>
                  <a:lnTo>
                    <a:pt x="127550" y="149743"/>
                  </a:lnTo>
                  <a:lnTo>
                    <a:pt x="142305" y="171887"/>
                  </a:lnTo>
                  <a:lnTo>
                    <a:pt x="146000" y="179268"/>
                  </a:lnTo>
                  <a:lnTo>
                    <a:pt x="149687" y="186649"/>
                  </a:lnTo>
                  <a:lnTo>
                    <a:pt x="153373" y="190339"/>
                  </a:lnTo>
                  <a:lnTo>
                    <a:pt x="142305" y="208792"/>
                  </a:lnTo>
                  <a:lnTo>
                    <a:pt x="142305" y="212483"/>
                  </a:lnTo>
                  <a:lnTo>
                    <a:pt x="138619" y="216173"/>
                  </a:lnTo>
                  <a:lnTo>
                    <a:pt x="134932" y="219864"/>
                  </a:lnTo>
                  <a:lnTo>
                    <a:pt x="123864" y="230936"/>
                  </a:lnTo>
                  <a:lnTo>
                    <a:pt x="109110" y="242008"/>
                  </a:lnTo>
                  <a:lnTo>
                    <a:pt x="94346" y="227245"/>
                  </a:lnTo>
                  <a:lnTo>
                    <a:pt x="83278" y="227245"/>
                  </a:lnTo>
                  <a:lnTo>
                    <a:pt x="72210" y="223555"/>
                  </a:lnTo>
                  <a:lnTo>
                    <a:pt x="64838" y="227245"/>
                  </a:lnTo>
                  <a:lnTo>
                    <a:pt x="64838" y="230936"/>
                  </a:lnTo>
                  <a:lnTo>
                    <a:pt x="64838" y="234627"/>
                  </a:lnTo>
                  <a:lnTo>
                    <a:pt x="57456" y="238317"/>
                  </a:lnTo>
                  <a:lnTo>
                    <a:pt x="46388" y="253080"/>
                  </a:lnTo>
                  <a:lnTo>
                    <a:pt x="42702" y="256770"/>
                  </a:lnTo>
                  <a:lnTo>
                    <a:pt x="39006" y="260461"/>
                  </a:lnTo>
                  <a:lnTo>
                    <a:pt x="24252" y="267841"/>
                  </a:lnTo>
                  <a:lnTo>
                    <a:pt x="16879" y="275222"/>
                  </a:lnTo>
                  <a:lnTo>
                    <a:pt x="5812" y="282603"/>
                  </a:lnTo>
                  <a:lnTo>
                    <a:pt x="9498" y="289985"/>
                  </a:lnTo>
                  <a:lnTo>
                    <a:pt x="9498" y="293675"/>
                  </a:lnTo>
                  <a:lnTo>
                    <a:pt x="20566" y="304747"/>
                  </a:lnTo>
                  <a:lnTo>
                    <a:pt x="24252" y="308438"/>
                  </a:lnTo>
                  <a:lnTo>
                    <a:pt x="31634" y="315819"/>
                  </a:lnTo>
                  <a:lnTo>
                    <a:pt x="35320" y="319510"/>
                  </a:lnTo>
                  <a:lnTo>
                    <a:pt x="39006" y="323200"/>
                  </a:lnTo>
                  <a:lnTo>
                    <a:pt x="42702" y="330581"/>
                  </a:lnTo>
                  <a:lnTo>
                    <a:pt x="46388" y="330581"/>
                  </a:lnTo>
                  <a:lnTo>
                    <a:pt x="42702" y="337963"/>
                  </a:lnTo>
                  <a:lnTo>
                    <a:pt x="39006" y="341653"/>
                  </a:lnTo>
                  <a:lnTo>
                    <a:pt x="31634" y="349034"/>
                  </a:lnTo>
                  <a:lnTo>
                    <a:pt x="31634" y="352724"/>
                  </a:lnTo>
                  <a:lnTo>
                    <a:pt x="27948" y="352724"/>
                  </a:lnTo>
                  <a:lnTo>
                    <a:pt x="24252" y="356415"/>
                  </a:lnTo>
                  <a:lnTo>
                    <a:pt x="13184" y="360105"/>
                  </a:lnTo>
                  <a:lnTo>
                    <a:pt x="9498" y="363796"/>
                  </a:lnTo>
                  <a:lnTo>
                    <a:pt x="5812" y="363796"/>
                  </a:lnTo>
                  <a:lnTo>
                    <a:pt x="5812" y="367486"/>
                  </a:lnTo>
                  <a:lnTo>
                    <a:pt x="9498" y="374868"/>
                  </a:lnTo>
                  <a:lnTo>
                    <a:pt x="13184" y="382249"/>
                  </a:lnTo>
                  <a:lnTo>
                    <a:pt x="16879" y="389630"/>
                  </a:lnTo>
                  <a:lnTo>
                    <a:pt x="16879" y="393321"/>
                  </a:lnTo>
                  <a:lnTo>
                    <a:pt x="16879" y="397011"/>
                  </a:lnTo>
                  <a:lnTo>
                    <a:pt x="24252" y="408083"/>
                  </a:lnTo>
                  <a:lnTo>
                    <a:pt x="24252" y="411774"/>
                  </a:lnTo>
                  <a:lnTo>
                    <a:pt x="31634" y="415464"/>
                  </a:lnTo>
                  <a:lnTo>
                    <a:pt x="31634" y="419155"/>
                  </a:lnTo>
                  <a:lnTo>
                    <a:pt x="27948" y="422846"/>
                  </a:lnTo>
                  <a:lnTo>
                    <a:pt x="39006" y="426536"/>
                  </a:lnTo>
                  <a:lnTo>
                    <a:pt x="35320" y="422846"/>
                  </a:lnTo>
                  <a:lnTo>
                    <a:pt x="39006" y="419155"/>
                  </a:lnTo>
                  <a:lnTo>
                    <a:pt x="39006" y="422846"/>
                  </a:lnTo>
                  <a:lnTo>
                    <a:pt x="42702" y="426536"/>
                  </a:lnTo>
                  <a:lnTo>
                    <a:pt x="42702" y="422846"/>
                  </a:lnTo>
                  <a:lnTo>
                    <a:pt x="46388" y="419155"/>
                  </a:lnTo>
                  <a:lnTo>
                    <a:pt x="50074" y="419155"/>
                  </a:lnTo>
                  <a:lnTo>
                    <a:pt x="53770" y="419155"/>
                  </a:lnTo>
                  <a:lnTo>
                    <a:pt x="57456" y="419155"/>
                  </a:lnTo>
                  <a:lnTo>
                    <a:pt x="57456" y="422846"/>
                  </a:lnTo>
                  <a:lnTo>
                    <a:pt x="61142" y="422846"/>
                  </a:lnTo>
                  <a:lnTo>
                    <a:pt x="64838" y="422846"/>
                  </a:lnTo>
                  <a:lnTo>
                    <a:pt x="68524" y="422846"/>
                  </a:lnTo>
                  <a:lnTo>
                    <a:pt x="68524" y="426536"/>
                  </a:lnTo>
                  <a:lnTo>
                    <a:pt x="72210" y="430227"/>
                  </a:lnTo>
                  <a:lnTo>
                    <a:pt x="75906" y="430227"/>
                  </a:lnTo>
                  <a:lnTo>
                    <a:pt x="75906" y="433917"/>
                  </a:lnTo>
                  <a:lnTo>
                    <a:pt x="79592" y="433917"/>
                  </a:lnTo>
                  <a:lnTo>
                    <a:pt x="83278" y="433917"/>
                  </a:lnTo>
                  <a:lnTo>
                    <a:pt x="83278" y="430227"/>
                  </a:lnTo>
                  <a:lnTo>
                    <a:pt x="86974" y="430227"/>
                  </a:lnTo>
                  <a:lnTo>
                    <a:pt x="86974" y="433917"/>
                  </a:lnTo>
                  <a:lnTo>
                    <a:pt x="90660" y="433917"/>
                  </a:lnTo>
                  <a:lnTo>
                    <a:pt x="94346" y="433917"/>
                  </a:lnTo>
                  <a:lnTo>
                    <a:pt x="98042" y="433917"/>
                  </a:lnTo>
                  <a:lnTo>
                    <a:pt x="101728" y="430227"/>
                  </a:lnTo>
                  <a:lnTo>
                    <a:pt x="105414" y="430227"/>
                  </a:lnTo>
                  <a:lnTo>
                    <a:pt x="109110" y="430227"/>
                  </a:lnTo>
                  <a:lnTo>
                    <a:pt x="109110" y="433917"/>
                  </a:lnTo>
                  <a:lnTo>
                    <a:pt x="105414" y="433917"/>
                  </a:lnTo>
                  <a:lnTo>
                    <a:pt x="105414" y="437607"/>
                  </a:lnTo>
                  <a:lnTo>
                    <a:pt x="109110" y="437607"/>
                  </a:lnTo>
                  <a:lnTo>
                    <a:pt x="109110" y="441298"/>
                  </a:lnTo>
                  <a:lnTo>
                    <a:pt x="112796" y="444988"/>
                  </a:lnTo>
                  <a:lnTo>
                    <a:pt x="116482" y="444988"/>
                  </a:lnTo>
                  <a:lnTo>
                    <a:pt x="120169" y="448679"/>
                  </a:lnTo>
                  <a:lnTo>
                    <a:pt x="123864" y="448679"/>
                  </a:lnTo>
                  <a:lnTo>
                    <a:pt x="123864" y="452370"/>
                  </a:lnTo>
                  <a:lnTo>
                    <a:pt x="123864" y="456060"/>
                  </a:lnTo>
                  <a:lnTo>
                    <a:pt x="127550" y="456060"/>
                  </a:lnTo>
                  <a:lnTo>
                    <a:pt x="127550" y="459751"/>
                  </a:lnTo>
                  <a:lnTo>
                    <a:pt x="131237" y="463441"/>
                  </a:lnTo>
                  <a:lnTo>
                    <a:pt x="131237" y="470823"/>
                  </a:lnTo>
                  <a:lnTo>
                    <a:pt x="134932" y="474513"/>
                  </a:lnTo>
                  <a:lnTo>
                    <a:pt x="138619" y="474513"/>
                  </a:lnTo>
                  <a:lnTo>
                    <a:pt x="138619" y="470823"/>
                  </a:lnTo>
                  <a:lnTo>
                    <a:pt x="142305" y="470823"/>
                  </a:lnTo>
                  <a:lnTo>
                    <a:pt x="146000" y="470823"/>
                  </a:lnTo>
                  <a:lnTo>
                    <a:pt x="146000" y="467132"/>
                  </a:lnTo>
                  <a:lnTo>
                    <a:pt x="149687" y="467132"/>
                  </a:lnTo>
                  <a:lnTo>
                    <a:pt x="149687" y="470823"/>
                  </a:lnTo>
                  <a:lnTo>
                    <a:pt x="153373" y="470823"/>
                  </a:lnTo>
                  <a:lnTo>
                    <a:pt x="153373" y="467132"/>
                  </a:lnTo>
                  <a:lnTo>
                    <a:pt x="157068" y="463441"/>
                  </a:lnTo>
                  <a:lnTo>
                    <a:pt x="160755" y="463441"/>
                  </a:lnTo>
                  <a:lnTo>
                    <a:pt x="160755" y="467132"/>
                  </a:lnTo>
                  <a:lnTo>
                    <a:pt x="160755" y="470823"/>
                  </a:lnTo>
                  <a:lnTo>
                    <a:pt x="164441" y="470823"/>
                  </a:lnTo>
                  <a:lnTo>
                    <a:pt x="168137" y="474513"/>
                  </a:lnTo>
                  <a:lnTo>
                    <a:pt x="171823" y="470823"/>
                  </a:lnTo>
                  <a:lnTo>
                    <a:pt x="175509" y="467132"/>
                  </a:lnTo>
                  <a:lnTo>
                    <a:pt x="175509" y="463441"/>
                  </a:lnTo>
                  <a:lnTo>
                    <a:pt x="179205" y="467132"/>
                  </a:lnTo>
                  <a:lnTo>
                    <a:pt x="182891" y="470823"/>
                  </a:lnTo>
                  <a:lnTo>
                    <a:pt x="190263" y="470823"/>
                  </a:lnTo>
                  <a:lnTo>
                    <a:pt x="193959" y="470823"/>
                  </a:lnTo>
                  <a:lnTo>
                    <a:pt x="197645" y="474513"/>
                  </a:lnTo>
                  <a:lnTo>
                    <a:pt x="201331" y="474513"/>
                  </a:lnTo>
                  <a:lnTo>
                    <a:pt x="201331" y="470823"/>
                  </a:lnTo>
                  <a:lnTo>
                    <a:pt x="197645" y="448679"/>
                  </a:lnTo>
                  <a:lnTo>
                    <a:pt x="205027" y="441298"/>
                  </a:lnTo>
                  <a:lnTo>
                    <a:pt x="212399" y="433917"/>
                  </a:lnTo>
                  <a:lnTo>
                    <a:pt x="216095" y="430227"/>
                  </a:lnTo>
                  <a:lnTo>
                    <a:pt x="230849" y="430227"/>
                  </a:lnTo>
                  <a:lnTo>
                    <a:pt x="241917" y="426536"/>
                  </a:lnTo>
                  <a:lnTo>
                    <a:pt x="245603" y="426536"/>
                  </a:lnTo>
                  <a:lnTo>
                    <a:pt x="245603" y="422846"/>
                  </a:lnTo>
                  <a:lnTo>
                    <a:pt x="252985" y="426536"/>
                  </a:lnTo>
                  <a:lnTo>
                    <a:pt x="260358" y="430227"/>
                  </a:lnTo>
                  <a:lnTo>
                    <a:pt x="267739" y="433917"/>
                  </a:lnTo>
                  <a:lnTo>
                    <a:pt x="282494" y="441298"/>
                  </a:lnTo>
                  <a:lnTo>
                    <a:pt x="289876" y="441298"/>
                  </a:lnTo>
                  <a:lnTo>
                    <a:pt x="293562" y="444988"/>
                  </a:lnTo>
                  <a:lnTo>
                    <a:pt x="289876" y="448679"/>
                  </a:lnTo>
                  <a:lnTo>
                    <a:pt x="289876" y="452370"/>
                  </a:lnTo>
                  <a:lnTo>
                    <a:pt x="289876" y="456060"/>
                  </a:lnTo>
                  <a:lnTo>
                    <a:pt x="289876" y="459751"/>
                  </a:lnTo>
                  <a:lnTo>
                    <a:pt x="293562" y="459751"/>
                  </a:lnTo>
                  <a:lnTo>
                    <a:pt x="297257" y="456060"/>
                  </a:lnTo>
                  <a:lnTo>
                    <a:pt x="300944" y="456060"/>
                  </a:lnTo>
                  <a:lnTo>
                    <a:pt x="304630" y="452370"/>
                  </a:lnTo>
                  <a:lnTo>
                    <a:pt x="308326" y="444988"/>
                  </a:lnTo>
                  <a:lnTo>
                    <a:pt x="315698" y="444988"/>
                  </a:lnTo>
                  <a:lnTo>
                    <a:pt x="319394" y="444988"/>
                  </a:lnTo>
                  <a:lnTo>
                    <a:pt x="323080" y="441298"/>
                  </a:lnTo>
                  <a:lnTo>
                    <a:pt x="326766" y="441298"/>
                  </a:lnTo>
                  <a:lnTo>
                    <a:pt x="330452" y="441298"/>
                  </a:lnTo>
                  <a:lnTo>
                    <a:pt x="334148" y="441298"/>
                  </a:lnTo>
                  <a:lnTo>
                    <a:pt x="337834" y="441298"/>
                  </a:lnTo>
                  <a:lnTo>
                    <a:pt x="341520" y="441298"/>
                  </a:lnTo>
                  <a:lnTo>
                    <a:pt x="345216" y="444988"/>
                  </a:lnTo>
                  <a:lnTo>
                    <a:pt x="348902" y="441298"/>
                  </a:lnTo>
                  <a:lnTo>
                    <a:pt x="352588" y="441298"/>
                  </a:lnTo>
                  <a:lnTo>
                    <a:pt x="359970" y="441298"/>
                  </a:lnTo>
                  <a:lnTo>
                    <a:pt x="367352" y="441298"/>
                  </a:lnTo>
                  <a:lnTo>
                    <a:pt x="371038" y="437607"/>
                  </a:lnTo>
                  <a:lnTo>
                    <a:pt x="374724" y="441298"/>
                  </a:lnTo>
                  <a:lnTo>
                    <a:pt x="382106" y="441298"/>
                  </a:lnTo>
                  <a:lnTo>
                    <a:pt x="385792" y="441298"/>
                  </a:lnTo>
                  <a:lnTo>
                    <a:pt x="393174" y="444988"/>
                  </a:lnTo>
                  <a:lnTo>
                    <a:pt x="393174" y="448679"/>
                  </a:lnTo>
                  <a:lnTo>
                    <a:pt x="396860" y="448679"/>
                  </a:lnTo>
                  <a:lnTo>
                    <a:pt x="404242" y="448679"/>
                  </a:lnTo>
                  <a:lnTo>
                    <a:pt x="407928" y="448679"/>
                  </a:lnTo>
                  <a:lnTo>
                    <a:pt x="411615" y="448679"/>
                  </a:lnTo>
                  <a:lnTo>
                    <a:pt x="418997" y="448679"/>
                  </a:lnTo>
                  <a:lnTo>
                    <a:pt x="422683" y="444988"/>
                  </a:lnTo>
                  <a:lnTo>
                    <a:pt x="426378" y="444988"/>
                  </a:lnTo>
                  <a:lnTo>
                    <a:pt x="430064" y="448679"/>
                  </a:lnTo>
                  <a:lnTo>
                    <a:pt x="433751" y="444988"/>
                  </a:lnTo>
                  <a:lnTo>
                    <a:pt x="433751" y="448679"/>
                  </a:lnTo>
                  <a:lnTo>
                    <a:pt x="437446" y="448679"/>
                  </a:lnTo>
                  <a:lnTo>
                    <a:pt x="448514" y="452370"/>
                  </a:lnTo>
                  <a:lnTo>
                    <a:pt x="452201" y="452370"/>
                  </a:lnTo>
                  <a:lnTo>
                    <a:pt x="459583" y="444988"/>
                  </a:lnTo>
                  <a:lnTo>
                    <a:pt x="459583" y="441298"/>
                  </a:lnTo>
                  <a:lnTo>
                    <a:pt x="459583" y="433917"/>
                  </a:lnTo>
                  <a:lnTo>
                    <a:pt x="459583" y="419155"/>
                  </a:lnTo>
                  <a:lnTo>
                    <a:pt x="463269" y="382249"/>
                  </a:lnTo>
                  <a:lnTo>
                    <a:pt x="463269" y="334272"/>
                  </a:lnTo>
                  <a:lnTo>
                    <a:pt x="463269" y="312128"/>
                  </a:lnTo>
                  <a:lnTo>
                    <a:pt x="474337" y="289985"/>
                  </a:lnTo>
                  <a:lnTo>
                    <a:pt x="463269" y="289985"/>
                  </a:lnTo>
                  <a:lnTo>
                    <a:pt x="463269" y="282603"/>
                  </a:lnTo>
                  <a:lnTo>
                    <a:pt x="459583" y="278913"/>
                  </a:lnTo>
                  <a:lnTo>
                    <a:pt x="452201" y="267841"/>
                  </a:lnTo>
                  <a:lnTo>
                    <a:pt x="448514" y="267841"/>
                  </a:lnTo>
                  <a:lnTo>
                    <a:pt x="448514" y="264151"/>
                  </a:lnTo>
                  <a:lnTo>
                    <a:pt x="437446" y="264151"/>
                  </a:lnTo>
                  <a:lnTo>
                    <a:pt x="437446" y="260461"/>
                  </a:lnTo>
                  <a:lnTo>
                    <a:pt x="444819" y="238317"/>
                  </a:lnTo>
                  <a:lnTo>
                    <a:pt x="448514" y="234627"/>
                  </a:lnTo>
                  <a:lnTo>
                    <a:pt x="448514" y="227245"/>
                  </a:lnTo>
                  <a:lnTo>
                    <a:pt x="441133" y="227245"/>
                  </a:lnTo>
                  <a:lnTo>
                    <a:pt x="437446" y="223555"/>
                  </a:lnTo>
                  <a:lnTo>
                    <a:pt x="433751" y="219864"/>
                  </a:lnTo>
                  <a:lnTo>
                    <a:pt x="430064" y="212483"/>
                  </a:lnTo>
                  <a:lnTo>
                    <a:pt x="422683" y="201411"/>
                  </a:lnTo>
                  <a:lnTo>
                    <a:pt x="418997" y="201411"/>
                  </a:lnTo>
                  <a:lnTo>
                    <a:pt x="418997" y="197720"/>
                  </a:lnTo>
                  <a:lnTo>
                    <a:pt x="415310" y="197720"/>
                  </a:lnTo>
                  <a:lnTo>
                    <a:pt x="411615" y="190339"/>
                  </a:lnTo>
                  <a:lnTo>
                    <a:pt x="407928" y="182958"/>
                  </a:lnTo>
                  <a:lnTo>
                    <a:pt x="404242" y="179268"/>
                  </a:lnTo>
                  <a:lnTo>
                    <a:pt x="400546" y="175578"/>
                  </a:lnTo>
                  <a:lnTo>
                    <a:pt x="400546" y="171887"/>
                  </a:lnTo>
                  <a:lnTo>
                    <a:pt x="396860" y="168196"/>
                  </a:lnTo>
                  <a:lnTo>
                    <a:pt x="389488" y="160815"/>
                  </a:lnTo>
                  <a:lnTo>
                    <a:pt x="382106" y="153434"/>
                  </a:lnTo>
                  <a:lnTo>
                    <a:pt x="378420" y="149743"/>
                  </a:lnTo>
                  <a:lnTo>
                    <a:pt x="359970" y="131290"/>
                  </a:lnTo>
                  <a:lnTo>
                    <a:pt x="348902" y="120219"/>
                  </a:lnTo>
                  <a:lnTo>
                    <a:pt x="337834" y="109147"/>
                  </a:lnTo>
                  <a:lnTo>
                    <a:pt x="337834" y="105456"/>
                  </a:lnTo>
                  <a:lnTo>
                    <a:pt x="323080" y="94385"/>
                  </a:lnTo>
                  <a:lnTo>
                    <a:pt x="319394" y="87004"/>
                  </a:lnTo>
                  <a:lnTo>
                    <a:pt x="304630" y="75932"/>
                  </a:lnTo>
                  <a:lnTo>
                    <a:pt x="304630" y="72242"/>
                  </a:lnTo>
                  <a:lnTo>
                    <a:pt x="300944" y="72242"/>
                  </a:lnTo>
                  <a:lnTo>
                    <a:pt x="297257" y="68551"/>
                  </a:lnTo>
                  <a:lnTo>
                    <a:pt x="293562" y="68551"/>
                  </a:lnTo>
                  <a:lnTo>
                    <a:pt x="289876" y="68551"/>
                  </a:lnTo>
                  <a:lnTo>
                    <a:pt x="278808" y="68551"/>
                  </a:lnTo>
                  <a:lnTo>
                    <a:pt x="271426" y="72242"/>
                  </a:lnTo>
                  <a:lnTo>
                    <a:pt x="267739" y="72242"/>
                  </a:lnTo>
                  <a:lnTo>
                    <a:pt x="249299" y="79623"/>
                  </a:lnTo>
                  <a:lnTo>
                    <a:pt x="249299" y="75932"/>
                  </a:lnTo>
                  <a:lnTo>
                    <a:pt x="245603" y="72242"/>
                  </a:lnTo>
                  <a:lnTo>
                    <a:pt x="249299" y="68551"/>
                  </a:lnTo>
                  <a:lnTo>
                    <a:pt x="245603" y="68551"/>
                  </a:lnTo>
                  <a:lnTo>
                    <a:pt x="245603" y="64860"/>
                  </a:lnTo>
                  <a:lnTo>
                    <a:pt x="241917" y="61170"/>
                  </a:lnTo>
                  <a:lnTo>
                    <a:pt x="238231" y="57479"/>
                  </a:lnTo>
                  <a:lnTo>
                    <a:pt x="234535" y="53789"/>
                  </a:lnTo>
                  <a:lnTo>
                    <a:pt x="234535" y="50098"/>
                  </a:lnTo>
                  <a:lnTo>
                    <a:pt x="227163" y="50098"/>
                  </a:lnTo>
                  <a:lnTo>
                    <a:pt x="227163" y="46407"/>
                  </a:lnTo>
                  <a:lnTo>
                    <a:pt x="223467" y="42717"/>
                  </a:lnTo>
                  <a:lnTo>
                    <a:pt x="223467" y="39026"/>
                  </a:lnTo>
                  <a:lnTo>
                    <a:pt x="223467" y="35335"/>
                  </a:lnTo>
                  <a:lnTo>
                    <a:pt x="216095" y="39026"/>
                  </a:lnTo>
                  <a:lnTo>
                    <a:pt x="212399" y="35335"/>
                  </a:lnTo>
                  <a:lnTo>
                    <a:pt x="212399" y="31645"/>
                  </a:lnTo>
                  <a:lnTo>
                    <a:pt x="208713" y="20573"/>
                  </a:lnTo>
                  <a:lnTo>
                    <a:pt x="205027" y="24264"/>
                  </a:lnTo>
                  <a:lnTo>
                    <a:pt x="201331" y="20573"/>
                  </a:lnTo>
                  <a:lnTo>
                    <a:pt x="197645" y="9502"/>
                  </a:lnTo>
                  <a:lnTo>
                    <a:pt x="190263" y="9502"/>
                  </a:lnTo>
                  <a:lnTo>
                    <a:pt x="186577" y="5812"/>
                  </a:lnTo>
                  <a:lnTo>
                    <a:pt x="182891" y="9502"/>
                  </a:lnTo>
                  <a:lnTo>
                    <a:pt x="179205" y="5812"/>
                  </a:lnTo>
                  <a:lnTo>
                    <a:pt x="175509" y="5812"/>
                  </a:lnTo>
                  <a:lnTo>
                    <a:pt x="168137" y="5812"/>
                  </a:lnTo>
                  <a:close/>
                  <a:moveTo>
                    <a:pt x="463269" y="282603"/>
                  </a:moveTo>
                  <a:lnTo>
                    <a:pt x="466955" y="282603"/>
                  </a:lnTo>
                  <a:lnTo>
                    <a:pt x="466955" y="278913"/>
                  </a:lnTo>
                  <a:lnTo>
                    <a:pt x="463269" y="282603"/>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10" name="Google Shape;402;p2">
              <a:extLst>
                <a:ext uri="{FF2B5EF4-FFF2-40B4-BE49-F238E27FC236}">
                  <a16:creationId xmlns:a16="http://schemas.microsoft.com/office/drawing/2014/main" id="{0DD7E698-1A36-43CD-9143-FF46BAFAFCED}"/>
                </a:ext>
              </a:extLst>
            </p:cNvPr>
            <p:cNvSpPr/>
            <p:nvPr/>
          </p:nvSpPr>
          <p:spPr>
            <a:xfrm>
              <a:off x="3795087" y="2337310"/>
              <a:ext cx="1429558" cy="1342917"/>
            </a:xfrm>
            <a:custGeom>
              <a:avLst/>
              <a:gdLst/>
              <a:ahLst/>
              <a:cxnLst/>
              <a:rect l="l" t="t" r="r" b="b"/>
              <a:pathLst>
                <a:path w="628650" h="590550" extrusionOk="0">
                  <a:moveTo>
                    <a:pt x="160768" y="5815"/>
                  </a:moveTo>
                  <a:lnTo>
                    <a:pt x="149700" y="13197"/>
                  </a:lnTo>
                  <a:lnTo>
                    <a:pt x="146004" y="16887"/>
                  </a:lnTo>
                  <a:lnTo>
                    <a:pt x="142318" y="20578"/>
                  </a:lnTo>
                  <a:lnTo>
                    <a:pt x="131250" y="20578"/>
                  </a:lnTo>
                  <a:lnTo>
                    <a:pt x="127564" y="20578"/>
                  </a:lnTo>
                  <a:lnTo>
                    <a:pt x="131250" y="27959"/>
                  </a:lnTo>
                  <a:lnTo>
                    <a:pt x="131250" y="31650"/>
                  </a:lnTo>
                  <a:lnTo>
                    <a:pt x="127564" y="31650"/>
                  </a:lnTo>
                  <a:lnTo>
                    <a:pt x="123877" y="35340"/>
                  </a:lnTo>
                  <a:lnTo>
                    <a:pt x="116495" y="39031"/>
                  </a:lnTo>
                  <a:lnTo>
                    <a:pt x="116495" y="31650"/>
                  </a:lnTo>
                  <a:lnTo>
                    <a:pt x="105427" y="35340"/>
                  </a:lnTo>
                  <a:lnTo>
                    <a:pt x="101741" y="39031"/>
                  </a:lnTo>
                  <a:lnTo>
                    <a:pt x="101741" y="35340"/>
                  </a:lnTo>
                  <a:lnTo>
                    <a:pt x="98046" y="35340"/>
                  </a:lnTo>
                  <a:lnTo>
                    <a:pt x="94359" y="31650"/>
                  </a:lnTo>
                  <a:lnTo>
                    <a:pt x="90673" y="24269"/>
                  </a:lnTo>
                  <a:lnTo>
                    <a:pt x="90673" y="16887"/>
                  </a:lnTo>
                  <a:lnTo>
                    <a:pt x="83291" y="20578"/>
                  </a:lnTo>
                  <a:lnTo>
                    <a:pt x="83291" y="24269"/>
                  </a:lnTo>
                  <a:lnTo>
                    <a:pt x="75909" y="20578"/>
                  </a:lnTo>
                  <a:lnTo>
                    <a:pt x="75909" y="24269"/>
                  </a:lnTo>
                  <a:lnTo>
                    <a:pt x="68537" y="24269"/>
                  </a:lnTo>
                  <a:lnTo>
                    <a:pt x="64841" y="27959"/>
                  </a:lnTo>
                  <a:lnTo>
                    <a:pt x="64841" y="31650"/>
                  </a:lnTo>
                  <a:lnTo>
                    <a:pt x="61155" y="35340"/>
                  </a:lnTo>
                  <a:lnTo>
                    <a:pt x="61155" y="39031"/>
                  </a:lnTo>
                  <a:lnTo>
                    <a:pt x="57469" y="42722"/>
                  </a:lnTo>
                  <a:lnTo>
                    <a:pt x="53773" y="42722"/>
                  </a:lnTo>
                  <a:lnTo>
                    <a:pt x="53773" y="46412"/>
                  </a:lnTo>
                  <a:lnTo>
                    <a:pt x="50087" y="46412"/>
                  </a:lnTo>
                  <a:lnTo>
                    <a:pt x="46401" y="50102"/>
                  </a:lnTo>
                  <a:lnTo>
                    <a:pt x="42715" y="50102"/>
                  </a:lnTo>
                  <a:lnTo>
                    <a:pt x="39019" y="50102"/>
                  </a:lnTo>
                  <a:lnTo>
                    <a:pt x="35333" y="50102"/>
                  </a:lnTo>
                  <a:lnTo>
                    <a:pt x="31647" y="46412"/>
                  </a:lnTo>
                  <a:lnTo>
                    <a:pt x="27951" y="46412"/>
                  </a:lnTo>
                  <a:lnTo>
                    <a:pt x="24265" y="46412"/>
                  </a:lnTo>
                  <a:lnTo>
                    <a:pt x="24265" y="42722"/>
                  </a:lnTo>
                  <a:lnTo>
                    <a:pt x="20579" y="42722"/>
                  </a:lnTo>
                  <a:lnTo>
                    <a:pt x="16883" y="42722"/>
                  </a:lnTo>
                  <a:lnTo>
                    <a:pt x="16883" y="39031"/>
                  </a:lnTo>
                  <a:lnTo>
                    <a:pt x="13197" y="39031"/>
                  </a:lnTo>
                  <a:lnTo>
                    <a:pt x="5815" y="46412"/>
                  </a:lnTo>
                  <a:lnTo>
                    <a:pt x="9511" y="53792"/>
                  </a:lnTo>
                  <a:lnTo>
                    <a:pt x="13197" y="57483"/>
                  </a:lnTo>
                  <a:lnTo>
                    <a:pt x="16883" y="61174"/>
                  </a:lnTo>
                  <a:lnTo>
                    <a:pt x="16883" y="64864"/>
                  </a:lnTo>
                  <a:lnTo>
                    <a:pt x="24265" y="64864"/>
                  </a:lnTo>
                  <a:lnTo>
                    <a:pt x="31647" y="64864"/>
                  </a:lnTo>
                  <a:lnTo>
                    <a:pt x="35333" y="68555"/>
                  </a:lnTo>
                  <a:lnTo>
                    <a:pt x="46401" y="72246"/>
                  </a:lnTo>
                  <a:lnTo>
                    <a:pt x="50087" y="79627"/>
                  </a:lnTo>
                  <a:lnTo>
                    <a:pt x="53773" y="83317"/>
                  </a:lnTo>
                  <a:lnTo>
                    <a:pt x="57469" y="83317"/>
                  </a:lnTo>
                  <a:lnTo>
                    <a:pt x="64841" y="90698"/>
                  </a:lnTo>
                  <a:lnTo>
                    <a:pt x="68537" y="101770"/>
                  </a:lnTo>
                  <a:lnTo>
                    <a:pt x="75909" y="116533"/>
                  </a:lnTo>
                  <a:lnTo>
                    <a:pt x="75909" y="120223"/>
                  </a:lnTo>
                  <a:lnTo>
                    <a:pt x="79605" y="120223"/>
                  </a:lnTo>
                  <a:lnTo>
                    <a:pt x="83291" y="123914"/>
                  </a:lnTo>
                  <a:lnTo>
                    <a:pt x="83291" y="127604"/>
                  </a:lnTo>
                  <a:lnTo>
                    <a:pt x="86978" y="131295"/>
                  </a:lnTo>
                  <a:lnTo>
                    <a:pt x="86978" y="134985"/>
                  </a:lnTo>
                  <a:lnTo>
                    <a:pt x="86978" y="138675"/>
                  </a:lnTo>
                  <a:lnTo>
                    <a:pt x="79605" y="142366"/>
                  </a:lnTo>
                  <a:lnTo>
                    <a:pt x="75909" y="146057"/>
                  </a:lnTo>
                  <a:lnTo>
                    <a:pt x="72223" y="149747"/>
                  </a:lnTo>
                  <a:lnTo>
                    <a:pt x="72223" y="153438"/>
                  </a:lnTo>
                  <a:lnTo>
                    <a:pt x="72223" y="157129"/>
                  </a:lnTo>
                  <a:lnTo>
                    <a:pt x="75909" y="157129"/>
                  </a:lnTo>
                  <a:lnTo>
                    <a:pt x="75909" y="153438"/>
                  </a:lnTo>
                  <a:lnTo>
                    <a:pt x="83291" y="157129"/>
                  </a:lnTo>
                  <a:lnTo>
                    <a:pt x="86978" y="157129"/>
                  </a:lnTo>
                  <a:lnTo>
                    <a:pt x="94359" y="160819"/>
                  </a:lnTo>
                  <a:lnTo>
                    <a:pt x="98046" y="164510"/>
                  </a:lnTo>
                  <a:lnTo>
                    <a:pt x="101741" y="168200"/>
                  </a:lnTo>
                  <a:lnTo>
                    <a:pt x="109114" y="168200"/>
                  </a:lnTo>
                  <a:lnTo>
                    <a:pt x="112809" y="175582"/>
                  </a:lnTo>
                  <a:lnTo>
                    <a:pt x="109114" y="179272"/>
                  </a:lnTo>
                  <a:lnTo>
                    <a:pt x="98046" y="186653"/>
                  </a:lnTo>
                  <a:lnTo>
                    <a:pt x="94359" y="186653"/>
                  </a:lnTo>
                  <a:lnTo>
                    <a:pt x="83291" y="190344"/>
                  </a:lnTo>
                  <a:lnTo>
                    <a:pt x="83291" y="194035"/>
                  </a:lnTo>
                  <a:lnTo>
                    <a:pt x="75909" y="197725"/>
                  </a:lnTo>
                  <a:lnTo>
                    <a:pt x="72223" y="197725"/>
                  </a:lnTo>
                  <a:lnTo>
                    <a:pt x="64841" y="201416"/>
                  </a:lnTo>
                  <a:lnTo>
                    <a:pt x="61155" y="197725"/>
                  </a:lnTo>
                  <a:lnTo>
                    <a:pt x="57469" y="194035"/>
                  </a:lnTo>
                  <a:lnTo>
                    <a:pt x="27951" y="201416"/>
                  </a:lnTo>
                  <a:lnTo>
                    <a:pt x="24265" y="205107"/>
                  </a:lnTo>
                  <a:lnTo>
                    <a:pt x="24265" y="212488"/>
                  </a:lnTo>
                  <a:lnTo>
                    <a:pt x="24265" y="216178"/>
                  </a:lnTo>
                  <a:lnTo>
                    <a:pt x="24265" y="219868"/>
                  </a:lnTo>
                  <a:lnTo>
                    <a:pt x="27951" y="223559"/>
                  </a:lnTo>
                  <a:lnTo>
                    <a:pt x="27951" y="227249"/>
                  </a:lnTo>
                  <a:lnTo>
                    <a:pt x="13197" y="223559"/>
                  </a:lnTo>
                  <a:lnTo>
                    <a:pt x="16883" y="227249"/>
                  </a:lnTo>
                  <a:lnTo>
                    <a:pt x="20579" y="227249"/>
                  </a:lnTo>
                  <a:lnTo>
                    <a:pt x="24265" y="227249"/>
                  </a:lnTo>
                  <a:lnTo>
                    <a:pt x="24265" y="230940"/>
                  </a:lnTo>
                  <a:lnTo>
                    <a:pt x="27951" y="234630"/>
                  </a:lnTo>
                  <a:lnTo>
                    <a:pt x="27951" y="238321"/>
                  </a:lnTo>
                  <a:lnTo>
                    <a:pt x="27951" y="242012"/>
                  </a:lnTo>
                  <a:lnTo>
                    <a:pt x="31647" y="245702"/>
                  </a:lnTo>
                  <a:lnTo>
                    <a:pt x="35333" y="249393"/>
                  </a:lnTo>
                  <a:lnTo>
                    <a:pt x="35333" y="253083"/>
                  </a:lnTo>
                  <a:lnTo>
                    <a:pt x="35333" y="256774"/>
                  </a:lnTo>
                  <a:lnTo>
                    <a:pt x="39019" y="260465"/>
                  </a:lnTo>
                  <a:lnTo>
                    <a:pt x="39019" y="267846"/>
                  </a:lnTo>
                  <a:lnTo>
                    <a:pt x="39019" y="275227"/>
                  </a:lnTo>
                  <a:lnTo>
                    <a:pt x="46401" y="271537"/>
                  </a:lnTo>
                  <a:lnTo>
                    <a:pt x="50087" y="275227"/>
                  </a:lnTo>
                  <a:lnTo>
                    <a:pt x="57469" y="286299"/>
                  </a:lnTo>
                  <a:lnTo>
                    <a:pt x="61155" y="293680"/>
                  </a:lnTo>
                  <a:lnTo>
                    <a:pt x="68537" y="304751"/>
                  </a:lnTo>
                  <a:lnTo>
                    <a:pt x="68537" y="312132"/>
                  </a:lnTo>
                  <a:lnTo>
                    <a:pt x="75909" y="308442"/>
                  </a:lnTo>
                  <a:lnTo>
                    <a:pt x="79605" y="304751"/>
                  </a:lnTo>
                  <a:lnTo>
                    <a:pt x="83291" y="301060"/>
                  </a:lnTo>
                  <a:lnTo>
                    <a:pt x="83291" y="304751"/>
                  </a:lnTo>
                  <a:lnTo>
                    <a:pt x="86978" y="308442"/>
                  </a:lnTo>
                  <a:lnTo>
                    <a:pt x="90673" y="304751"/>
                  </a:lnTo>
                  <a:lnTo>
                    <a:pt x="98046" y="297371"/>
                  </a:lnTo>
                  <a:lnTo>
                    <a:pt x="105427" y="289990"/>
                  </a:lnTo>
                  <a:lnTo>
                    <a:pt x="109114" y="286299"/>
                  </a:lnTo>
                  <a:lnTo>
                    <a:pt x="112809" y="286299"/>
                  </a:lnTo>
                  <a:lnTo>
                    <a:pt x="116495" y="286299"/>
                  </a:lnTo>
                  <a:lnTo>
                    <a:pt x="120182" y="282608"/>
                  </a:lnTo>
                  <a:lnTo>
                    <a:pt x="123877" y="286299"/>
                  </a:lnTo>
                  <a:lnTo>
                    <a:pt x="127564" y="286299"/>
                  </a:lnTo>
                  <a:lnTo>
                    <a:pt x="131250" y="289990"/>
                  </a:lnTo>
                  <a:lnTo>
                    <a:pt x="134936" y="293680"/>
                  </a:lnTo>
                  <a:lnTo>
                    <a:pt x="134936" y="297371"/>
                  </a:lnTo>
                  <a:lnTo>
                    <a:pt x="134936" y="301060"/>
                  </a:lnTo>
                  <a:lnTo>
                    <a:pt x="138632" y="304751"/>
                  </a:lnTo>
                  <a:lnTo>
                    <a:pt x="149700" y="308442"/>
                  </a:lnTo>
                  <a:lnTo>
                    <a:pt x="153386" y="312132"/>
                  </a:lnTo>
                  <a:lnTo>
                    <a:pt x="153386" y="315823"/>
                  </a:lnTo>
                  <a:lnTo>
                    <a:pt x="157072" y="326895"/>
                  </a:lnTo>
                  <a:lnTo>
                    <a:pt x="157072" y="334276"/>
                  </a:lnTo>
                  <a:lnTo>
                    <a:pt x="160768" y="337967"/>
                  </a:lnTo>
                  <a:lnTo>
                    <a:pt x="164454" y="341657"/>
                  </a:lnTo>
                  <a:lnTo>
                    <a:pt x="164454" y="349038"/>
                  </a:lnTo>
                  <a:lnTo>
                    <a:pt x="160768" y="352729"/>
                  </a:lnTo>
                  <a:lnTo>
                    <a:pt x="160768" y="356420"/>
                  </a:lnTo>
                  <a:lnTo>
                    <a:pt x="160768" y="363801"/>
                  </a:lnTo>
                  <a:lnTo>
                    <a:pt x="164454" y="367491"/>
                  </a:lnTo>
                  <a:lnTo>
                    <a:pt x="168140" y="367491"/>
                  </a:lnTo>
                  <a:lnTo>
                    <a:pt x="168140" y="371182"/>
                  </a:lnTo>
                  <a:lnTo>
                    <a:pt x="168140" y="374873"/>
                  </a:lnTo>
                  <a:lnTo>
                    <a:pt x="168140" y="382253"/>
                  </a:lnTo>
                  <a:lnTo>
                    <a:pt x="164454" y="382253"/>
                  </a:lnTo>
                  <a:lnTo>
                    <a:pt x="164454" y="385943"/>
                  </a:lnTo>
                  <a:lnTo>
                    <a:pt x="160768" y="385943"/>
                  </a:lnTo>
                  <a:lnTo>
                    <a:pt x="153386" y="389634"/>
                  </a:lnTo>
                  <a:lnTo>
                    <a:pt x="146004" y="389634"/>
                  </a:lnTo>
                  <a:lnTo>
                    <a:pt x="146004" y="393323"/>
                  </a:lnTo>
                  <a:lnTo>
                    <a:pt x="142318" y="393323"/>
                  </a:lnTo>
                  <a:lnTo>
                    <a:pt x="142318" y="397018"/>
                  </a:lnTo>
                  <a:lnTo>
                    <a:pt x="146004" y="400704"/>
                  </a:lnTo>
                  <a:lnTo>
                    <a:pt x="149700" y="400704"/>
                  </a:lnTo>
                  <a:lnTo>
                    <a:pt x="153386" y="404400"/>
                  </a:lnTo>
                  <a:lnTo>
                    <a:pt x="149700" y="404400"/>
                  </a:lnTo>
                  <a:lnTo>
                    <a:pt x="146004" y="408086"/>
                  </a:lnTo>
                  <a:lnTo>
                    <a:pt x="142318" y="408086"/>
                  </a:lnTo>
                  <a:lnTo>
                    <a:pt x="142318" y="415468"/>
                  </a:lnTo>
                  <a:lnTo>
                    <a:pt x="142318" y="422850"/>
                  </a:lnTo>
                  <a:lnTo>
                    <a:pt x="142318" y="430232"/>
                  </a:lnTo>
                  <a:lnTo>
                    <a:pt x="138632" y="430232"/>
                  </a:lnTo>
                  <a:lnTo>
                    <a:pt x="138632" y="433918"/>
                  </a:lnTo>
                  <a:lnTo>
                    <a:pt x="142318" y="433918"/>
                  </a:lnTo>
                  <a:lnTo>
                    <a:pt x="146004" y="433918"/>
                  </a:lnTo>
                  <a:lnTo>
                    <a:pt x="146004" y="437614"/>
                  </a:lnTo>
                  <a:lnTo>
                    <a:pt x="146004" y="448682"/>
                  </a:lnTo>
                  <a:lnTo>
                    <a:pt x="149700" y="448682"/>
                  </a:lnTo>
                  <a:lnTo>
                    <a:pt x="153386" y="448682"/>
                  </a:lnTo>
                  <a:lnTo>
                    <a:pt x="157072" y="448682"/>
                  </a:lnTo>
                  <a:lnTo>
                    <a:pt x="157072" y="452377"/>
                  </a:lnTo>
                  <a:lnTo>
                    <a:pt x="157072" y="456064"/>
                  </a:lnTo>
                  <a:lnTo>
                    <a:pt x="160768" y="456064"/>
                  </a:lnTo>
                  <a:lnTo>
                    <a:pt x="160768" y="467132"/>
                  </a:lnTo>
                  <a:lnTo>
                    <a:pt x="164454" y="470827"/>
                  </a:lnTo>
                  <a:lnTo>
                    <a:pt x="168140" y="474514"/>
                  </a:lnTo>
                  <a:lnTo>
                    <a:pt x="168140" y="478209"/>
                  </a:lnTo>
                  <a:lnTo>
                    <a:pt x="168140" y="481895"/>
                  </a:lnTo>
                  <a:lnTo>
                    <a:pt x="168140" y="485591"/>
                  </a:lnTo>
                  <a:lnTo>
                    <a:pt x="171836" y="489277"/>
                  </a:lnTo>
                  <a:lnTo>
                    <a:pt x="175522" y="489277"/>
                  </a:lnTo>
                  <a:lnTo>
                    <a:pt x="179208" y="489277"/>
                  </a:lnTo>
                  <a:lnTo>
                    <a:pt x="182904" y="489277"/>
                  </a:lnTo>
                  <a:lnTo>
                    <a:pt x="182904" y="492973"/>
                  </a:lnTo>
                  <a:lnTo>
                    <a:pt x="179208" y="492973"/>
                  </a:lnTo>
                  <a:lnTo>
                    <a:pt x="175522" y="496659"/>
                  </a:lnTo>
                  <a:lnTo>
                    <a:pt x="175522" y="500355"/>
                  </a:lnTo>
                  <a:lnTo>
                    <a:pt x="179208" y="507737"/>
                  </a:lnTo>
                  <a:lnTo>
                    <a:pt x="182904" y="507737"/>
                  </a:lnTo>
                  <a:lnTo>
                    <a:pt x="186590" y="507737"/>
                  </a:lnTo>
                  <a:lnTo>
                    <a:pt x="186590" y="504041"/>
                  </a:lnTo>
                  <a:lnTo>
                    <a:pt x="193962" y="500355"/>
                  </a:lnTo>
                  <a:lnTo>
                    <a:pt x="197658" y="500355"/>
                  </a:lnTo>
                  <a:lnTo>
                    <a:pt x="197658" y="504041"/>
                  </a:lnTo>
                  <a:lnTo>
                    <a:pt x="205030" y="504041"/>
                  </a:lnTo>
                  <a:lnTo>
                    <a:pt x="208726" y="504041"/>
                  </a:lnTo>
                  <a:lnTo>
                    <a:pt x="212412" y="507737"/>
                  </a:lnTo>
                  <a:lnTo>
                    <a:pt x="212412" y="504041"/>
                  </a:lnTo>
                  <a:lnTo>
                    <a:pt x="216098" y="504041"/>
                  </a:lnTo>
                  <a:lnTo>
                    <a:pt x="219794" y="504041"/>
                  </a:lnTo>
                  <a:lnTo>
                    <a:pt x="223480" y="504041"/>
                  </a:lnTo>
                  <a:lnTo>
                    <a:pt x="230862" y="504041"/>
                  </a:lnTo>
                  <a:lnTo>
                    <a:pt x="234548" y="504041"/>
                  </a:lnTo>
                  <a:lnTo>
                    <a:pt x="238235" y="507737"/>
                  </a:lnTo>
                  <a:lnTo>
                    <a:pt x="241930" y="504041"/>
                  </a:lnTo>
                  <a:lnTo>
                    <a:pt x="245616" y="504041"/>
                  </a:lnTo>
                  <a:lnTo>
                    <a:pt x="249303" y="504041"/>
                  </a:lnTo>
                  <a:lnTo>
                    <a:pt x="252998" y="504041"/>
                  </a:lnTo>
                  <a:lnTo>
                    <a:pt x="252998" y="507737"/>
                  </a:lnTo>
                  <a:lnTo>
                    <a:pt x="264066" y="507737"/>
                  </a:lnTo>
                  <a:lnTo>
                    <a:pt x="264066" y="504041"/>
                  </a:lnTo>
                  <a:lnTo>
                    <a:pt x="271439" y="504041"/>
                  </a:lnTo>
                  <a:lnTo>
                    <a:pt x="271439" y="496659"/>
                  </a:lnTo>
                  <a:lnTo>
                    <a:pt x="275125" y="496659"/>
                  </a:lnTo>
                  <a:lnTo>
                    <a:pt x="278821" y="492973"/>
                  </a:lnTo>
                  <a:lnTo>
                    <a:pt x="286193" y="492973"/>
                  </a:lnTo>
                  <a:lnTo>
                    <a:pt x="289889" y="492973"/>
                  </a:lnTo>
                  <a:lnTo>
                    <a:pt x="293575" y="489277"/>
                  </a:lnTo>
                  <a:lnTo>
                    <a:pt x="293575" y="492973"/>
                  </a:lnTo>
                  <a:lnTo>
                    <a:pt x="297261" y="492973"/>
                  </a:lnTo>
                  <a:lnTo>
                    <a:pt x="300957" y="492973"/>
                  </a:lnTo>
                  <a:lnTo>
                    <a:pt x="308329" y="492973"/>
                  </a:lnTo>
                  <a:lnTo>
                    <a:pt x="312025" y="492973"/>
                  </a:lnTo>
                  <a:lnTo>
                    <a:pt x="312025" y="496659"/>
                  </a:lnTo>
                  <a:lnTo>
                    <a:pt x="312025" y="500355"/>
                  </a:lnTo>
                  <a:lnTo>
                    <a:pt x="315711" y="507737"/>
                  </a:lnTo>
                  <a:lnTo>
                    <a:pt x="326779" y="515109"/>
                  </a:lnTo>
                  <a:lnTo>
                    <a:pt x="326779" y="522491"/>
                  </a:lnTo>
                  <a:lnTo>
                    <a:pt x="330465" y="522491"/>
                  </a:lnTo>
                  <a:lnTo>
                    <a:pt x="330465" y="526187"/>
                  </a:lnTo>
                  <a:lnTo>
                    <a:pt x="337847" y="526187"/>
                  </a:lnTo>
                  <a:lnTo>
                    <a:pt x="337847" y="533569"/>
                  </a:lnTo>
                  <a:lnTo>
                    <a:pt x="341533" y="537255"/>
                  </a:lnTo>
                  <a:lnTo>
                    <a:pt x="341533" y="540951"/>
                  </a:lnTo>
                  <a:lnTo>
                    <a:pt x="345219" y="540951"/>
                  </a:lnTo>
                  <a:lnTo>
                    <a:pt x="348915" y="544637"/>
                  </a:lnTo>
                  <a:lnTo>
                    <a:pt x="356287" y="540951"/>
                  </a:lnTo>
                  <a:lnTo>
                    <a:pt x="359983" y="540951"/>
                  </a:lnTo>
                  <a:lnTo>
                    <a:pt x="378424" y="544637"/>
                  </a:lnTo>
                  <a:lnTo>
                    <a:pt x="393187" y="540951"/>
                  </a:lnTo>
                  <a:lnTo>
                    <a:pt x="396873" y="540951"/>
                  </a:lnTo>
                  <a:lnTo>
                    <a:pt x="404255" y="544637"/>
                  </a:lnTo>
                  <a:lnTo>
                    <a:pt x="400560" y="548332"/>
                  </a:lnTo>
                  <a:lnTo>
                    <a:pt x="404255" y="552019"/>
                  </a:lnTo>
                  <a:lnTo>
                    <a:pt x="407942" y="555714"/>
                  </a:lnTo>
                  <a:lnTo>
                    <a:pt x="407942" y="552019"/>
                  </a:lnTo>
                  <a:lnTo>
                    <a:pt x="411628" y="548332"/>
                  </a:lnTo>
                  <a:lnTo>
                    <a:pt x="415314" y="544637"/>
                  </a:lnTo>
                  <a:lnTo>
                    <a:pt x="419010" y="548332"/>
                  </a:lnTo>
                  <a:lnTo>
                    <a:pt x="419010" y="552019"/>
                  </a:lnTo>
                  <a:lnTo>
                    <a:pt x="422696" y="544637"/>
                  </a:lnTo>
                  <a:lnTo>
                    <a:pt x="426382" y="544637"/>
                  </a:lnTo>
                  <a:lnTo>
                    <a:pt x="437450" y="552019"/>
                  </a:lnTo>
                  <a:lnTo>
                    <a:pt x="437450" y="555714"/>
                  </a:lnTo>
                  <a:lnTo>
                    <a:pt x="437450" y="559400"/>
                  </a:lnTo>
                  <a:lnTo>
                    <a:pt x="437450" y="570468"/>
                  </a:lnTo>
                  <a:lnTo>
                    <a:pt x="430078" y="581546"/>
                  </a:lnTo>
                  <a:lnTo>
                    <a:pt x="437450" y="581546"/>
                  </a:lnTo>
                  <a:lnTo>
                    <a:pt x="441146" y="581546"/>
                  </a:lnTo>
                  <a:lnTo>
                    <a:pt x="448518" y="585232"/>
                  </a:lnTo>
                  <a:lnTo>
                    <a:pt x="455900" y="588928"/>
                  </a:lnTo>
                  <a:lnTo>
                    <a:pt x="459586" y="588928"/>
                  </a:lnTo>
                  <a:lnTo>
                    <a:pt x="481722" y="588928"/>
                  </a:lnTo>
                  <a:lnTo>
                    <a:pt x="511240" y="588928"/>
                  </a:lnTo>
                  <a:lnTo>
                    <a:pt x="522308" y="588928"/>
                  </a:lnTo>
                  <a:lnTo>
                    <a:pt x="525994" y="585232"/>
                  </a:lnTo>
                  <a:lnTo>
                    <a:pt x="529680" y="581546"/>
                  </a:lnTo>
                  <a:lnTo>
                    <a:pt x="533376" y="577850"/>
                  </a:lnTo>
                  <a:lnTo>
                    <a:pt x="533376" y="574164"/>
                  </a:lnTo>
                  <a:lnTo>
                    <a:pt x="537062" y="555714"/>
                  </a:lnTo>
                  <a:lnTo>
                    <a:pt x="540749" y="555714"/>
                  </a:lnTo>
                  <a:lnTo>
                    <a:pt x="540749" y="552019"/>
                  </a:lnTo>
                  <a:lnTo>
                    <a:pt x="551817" y="544637"/>
                  </a:lnTo>
                  <a:lnTo>
                    <a:pt x="551817" y="540951"/>
                  </a:lnTo>
                  <a:lnTo>
                    <a:pt x="562885" y="537255"/>
                  </a:lnTo>
                  <a:lnTo>
                    <a:pt x="573953" y="537255"/>
                  </a:lnTo>
                  <a:lnTo>
                    <a:pt x="577639" y="529873"/>
                  </a:lnTo>
                  <a:lnTo>
                    <a:pt x="577639" y="526187"/>
                  </a:lnTo>
                  <a:lnTo>
                    <a:pt x="581335" y="522491"/>
                  </a:lnTo>
                  <a:lnTo>
                    <a:pt x="581335" y="518805"/>
                  </a:lnTo>
                  <a:lnTo>
                    <a:pt x="585021" y="515109"/>
                  </a:lnTo>
                  <a:lnTo>
                    <a:pt x="585021" y="511423"/>
                  </a:lnTo>
                  <a:lnTo>
                    <a:pt x="585021" y="507737"/>
                  </a:lnTo>
                  <a:lnTo>
                    <a:pt x="585021" y="504041"/>
                  </a:lnTo>
                  <a:lnTo>
                    <a:pt x="588707" y="500355"/>
                  </a:lnTo>
                  <a:lnTo>
                    <a:pt x="596089" y="496659"/>
                  </a:lnTo>
                  <a:lnTo>
                    <a:pt x="599775" y="500355"/>
                  </a:lnTo>
                  <a:lnTo>
                    <a:pt x="603471" y="500355"/>
                  </a:lnTo>
                  <a:lnTo>
                    <a:pt x="607157" y="500355"/>
                  </a:lnTo>
                  <a:lnTo>
                    <a:pt x="614539" y="500355"/>
                  </a:lnTo>
                  <a:lnTo>
                    <a:pt x="625597" y="492973"/>
                  </a:lnTo>
                  <a:lnTo>
                    <a:pt x="625597" y="489277"/>
                  </a:lnTo>
                  <a:lnTo>
                    <a:pt x="614539" y="474514"/>
                  </a:lnTo>
                  <a:lnTo>
                    <a:pt x="610843" y="470827"/>
                  </a:lnTo>
                  <a:lnTo>
                    <a:pt x="610843" y="463446"/>
                  </a:lnTo>
                  <a:lnTo>
                    <a:pt x="607157" y="463446"/>
                  </a:lnTo>
                  <a:lnTo>
                    <a:pt x="607157" y="459759"/>
                  </a:lnTo>
                  <a:lnTo>
                    <a:pt x="607157" y="456064"/>
                  </a:lnTo>
                  <a:lnTo>
                    <a:pt x="607157" y="452377"/>
                  </a:lnTo>
                  <a:lnTo>
                    <a:pt x="607157" y="448682"/>
                  </a:lnTo>
                  <a:lnTo>
                    <a:pt x="610843" y="437614"/>
                  </a:lnTo>
                  <a:lnTo>
                    <a:pt x="610843" y="433918"/>
                  </a:lnTo>
                  <a:lnTo>
                    <a:pt x="614539" y="433918"/>
                  </a:lnTo>
                  <a:lnTo>
                    <a:pt x="614539" y="430232"/>
                  </a:lnTo>
                  <a:lnTo>
                    <a:pt x="618225" y="430232"/>
                  </a:lnTo>
                  <a:lnTo>
                    <a:pt x="618225" y="426536"/>
                  </a:lnTo>
                  <a:lnTo>
                    <a:pt x="618225" y="422850"/>
                  </a:lnTo>
                  <a:lnTo>
                    <a:pt x="621911" y="415468"/>
                  </a:lnTo>
                  <a:lnTo>
                    <a:pt x="621911" y="411782"/>
                  </a:lnTo>
                  <a:lnTo>
                    <a:pt x="629293" y="400704"/>
                  </a:lnTo>
                  <a:lnTo>
                    <a:pt x="629293" y="382253"/>
                  </a:lnTo>
                  <a:lnTo>
                    <a:pt x="621911" y="367491"/>
                  </a:lnTo>
                  <a:lnTo>
                    <a:pt x="621911" y="363801"/>
                  </a:lnTo>
                  <a:lnTo>
                    <a:pt x="621911" y="360110"/>
                  </a:lnTo>
                  <a:lnTo>
                    <a:pt x="618225" y="360110"/>
                  </a:lnTo>
                  <a:lnTo>
                    <a:pt x="614539" y="360110"/>
                  </a:lnTo>
                  <a:lnTo>
                    <a:pt x="610843" y="360110"/>
                  </a:lnTo>
                  <a:lnTo>
                    <a:pt x="607157" y="352729"/>
                  </a:lnTo>
                  <a:lnTo>
                    <a:pt x="603471" y="345348"/>
                  </a:lnTo>
                  <a:lnTo>
                    <a:pt x="596089" y="337967"/>
                  </a:lnTo>
                  <a:lnTo>
                    <a:pt x="596089" y="334276"/>
                  </a:lnTo>
                  <a:lnTo>
                    <a:pt x="592403" y="326895"/>
                  </a:lnTo>
                  <a:lnTo>
                    <a:pt x="592403" y="319514"/>
                  </a:lnTo>
                  <a:lnTo>
                    <a:pt x="588707" y="312132"/>
                  </a:lnTo>
                  <a:lnTo>
                    <a:pt x="588707" y="308442"/>
                  </a:lnTo>
                  <a:lnTo>
                    <a:pt x="585021" y="308442"/>
                  </a:lnTo>
                  <a:lnTo>
                    <a:pt x="581335" y="308442"/>
                  </a:lnTo>
                  <a:lnTo>
                    <a:pt x="577639" y="315823"/>
                  </a:lnTo>
                  <a:lnTo>
                    <a:pt x="573953" y="326895"/>
                  </a:lnTo>
                  <a:lnTo>
                    <a:pt x="566571" y="330585"/>
                  </a:lnTo>
                  <a:lnTo>
                    <a:pt x="566571" y="334276"/>
                  </a:lnTo>
                  <a:lnTo>
                    <a:pt x="562885" y="334276"/>
                  </a:lnTo>
                  <a:lnTo>
                    <a:pt x="544444" y="330585"/>
                  </a:lnTo>
                  <a:lnTo>
                    <a:pt x="537062" y="326895"/>
                  </a:lnTo>
                  <a:lnTo>
                    <a:pt x="525994" y="323204"/>
                  </a:lnTo>
                  <a:lnTo>
                    <a:pt x="518612" y="323204"/>
                  </a:lnTo>
                  <a:lnTo>
                    <a:pt x="522308" y="315823"/>
                  </a:lnTo>
                  <a:lnTo>
                    <a:pt x="514926" y="315823"/>
                  </a:lnTo>
                  <a:lnTo>
                    <a:pt x="503858" y="315823"/>
                  </a:lnTo>
                  <a:lnTo>
                    <a:pt x="481722" y="315823"/>
                  </a:lnTo>
                  <a:lnTo>
                    <a:pt x="474350" y="315823"/>
                  </a:lnTo>
                  <a:lnTo>
                    <a:pt x="470654" y="312132"/>
                  </a:lnTo>
                  <a:lnTo>
                    <a:pt x="455900" y="304751"/>
                  </a:lnTo>
                  <a:lnTo>
                    <a:pt x="452214" y="301060"/>
                  </a:lnTo>
                  <a:lnTo>
                    <a:pt x="444832" y="297371"/>
                  </a:lnTo>
                  <a:lnTo>
                    <a:pt x="448518" y="267846"/>
                  </a:lnTo>
                  <a:lnTo>
                    <a:pt x="441146" y="256774"/>
                  </a:lnTo>
                  <a:lnTo>
                    <a:pt x="433764" y="242012"/>
                  </a:lnTo>
                  <a:lnTo>
                    <a:pt x="437450" y="242012"/>
                  </a:lnTo>
                  <a:lnTo>
                    <a:pt x="444832" y="245702"/>
                  </a:lnTo>
                  <a:lnTo>
                    <a:pt x="452214" y="245702"/>
                  </a:lnTo>
                  <a:lnTo>
                    <a:pt x="455900" y="234630"/>
                  </a:lnTo>
                  <a:lnTo>
                    <a:pt x="463282" y="234630"/>
                  </a:lnTo>
                  <a:lnTo>
                    <a:pt x="470654" y="238321"/>
                  </a:lnTo>
                  <a:lnTo>
                    <a:pt x="474350" y="234630"/>
                  </a:lnTo>
                  <a:lnTo>
                    <a:pt x="452214" y="216178"/>
                  </a:lnTo>
                  <a:lnTo>
                    <a:pt x="452214" y="208797"/>
                  </a:lnTo>
                  <a:lnTo>
                    <a:pt x="455900" y="194035"/>
                  </a:lnTo>
                  <a:lnTo>
                    <a:pt x="455900" y="190344"/>
                  </a:lnTo>
                  <a:lnTo>
                    <a:pt x="452214" y="186653"/>
                  </a:lnTo>
                  <a:lnTo>
                    <a:pt x="448518" y="182963"/>
                  </a:lnTo>
                  <a:lnTo>
                    <a:pt x="444832" y="182963"/>
                  </a:lnTo>
                  <a:lnTo>
                    <a:pt x="444832" y="179272"/>
                  </a:lnTo>
                  <a:lnTo>
                    <a:pt x="444832" y="175582"/>
                  </a:lnTo>
                  <a:lnTo>
                    <a:pt x="444832" y="171891"/>
                  </a:lnTo>
                  <a:lnTo>
                    <a:pt x="448518" y="168200"/>
                  </a:lnTo>
                  <a:lnTo>
                    <a:pt x="444832" y="164510"/>
                  </a:lnTo>
                  <a:lnTo>
                    <a:pt x="437450" y="164510"/>
                  </a:lnTo>
                  <a:lnTo>
                    <a:pt x="422696" y="157129"/>
                  </a:lnTo>
                  <a:lnTo>
                    <a:pt x="415314" y="153438"/>
                  </a:lnTo>
                  <a:lnTo>
                    <a:pt x="407942" y="149747"/>
                  </a:lnTo>
                  <a:lnTo>
                    <a:pt x="400560" y="146057"/>
                  </a:lnTo>
                  <a:lnTo>
                    <a:pt x="400560" y="149747"/>
                  </a:lnTo>
                  <a:lnTo>
                    <a:pt x="396873" y="149747"/>
                  </a:lnTo>
                  <a:lnTo>
                    <a:pt x="385805" y="153438"/>
                  </a:lnTo>
                  <a:lnTo>
                    <a:pt x="371051" y="153438"/>
                  </a:lnTo>
                  <a:lnTo>
                    <a:pt x="367355" y="157129"/>
                  </a:lnTo>
                  <a:lnTo>
                    <a:pt x="359983" y="164510"/>
                  </a:lnTo>
                  <a:lnTo>
                    <a:pt x="352601" y="171891"/>
                  </a:lnTo>
                  <a:lnTo>
                    <a:pt x="356287" y="194035"/>
                  </a:lnTo>
                  <a:lnTo>
                    <a:pt x="356287" y="197725"/>
                  </a:lnTo>
                  <a:lnTo>
                    <a:pt x="352601" y="197725"/>
                  </a:lnTo>
                  <a:lnTo>
                    <a:pt x="348915" y="194035"/>
                  </a:lnTo>
                  <a:lnTo>
                    <a:pt x="345219" y="194035"/>
                  </a:lnTo>
                  <a:lnTo>
                    <a:pt x="337847" y="194035"/>
                  </a:lnTo>
                  <a:lnTo>
                    <a:pt x="334161" y="190344"/>
                  </a:lnTo>
                  <a:lnTo>
                    <a:pt x="330465" y="186653"/>
                  </a:lnTo>
                  <a:lnTo>
                    <a:pt x="330465" y="190344"/>
                  </a:lnTo>
                  <a:lnTo>
                    <a:pt x="326779" y="194035"/>
                  </a:lnTo>
                  <a:lnTo>
                    <a:pt x="323093" y="197725"/>
                  </a:lnTo>
                  <a:lnTo>
                    <a:pt x="319397" y="194035"/>
                  </a:lnTo>
                  <a:lnTo>
                    <a:pt x="315711" y="194035"/>
                  </a:lnTo>
                  <a:lnTo>
                    <a:pt x="315711" y="190344"/>
                  </a:lnTo>
                  <a:lnTo>
                    <a:pt x="315711" y="186653"/>
                  </a:lnTo>
                  <a:lnTo>
                    <a:pt x="312025" y="186653"/>
                  </a:lnTo>
                  <a:lnTo>
                    <a:pt x="308329" y="190344"/>
                  </a:lnTo>
                  <a:lnTo>
                    <a:pt x="308329" y="194035"/>
                  </a:lnTo>
                  <a:lnTo>
                    <a:pt x="304643" y="194035"/>
                  </a:lnTo>
                  <a:lnTo>
                    <a:pt x="304643" y="190344"/>
                  </a:lnTo>
                  <a:lnTo>
                    <a:pt x="300957" y="190344"/>
                  </a:lnTo>
                  <a:lnTo>
                    <a:pt x="300957" y="194035"/>
                  </a:lnTo>
                  <a:lnTo>
                    <a:pt x="297261" y="194035"/>
                  </a:lnTo>
                  <a:lnTo>
                    <a:pt x="293575" y="194035"/>
                  </a:lnTo>
                  <a:lnTo>
                    <a:pt x="293575" y="197725"/>
                  </a:lnTo>
                  <a:lnTo>
                    <a:pt x="289889" y="197725"/>
                  </a:lnTo>
                  <a:lnTo>
                    <a:pt x="286193" y="194035"/>
                  </a:lnTo>
                  <a:lnTo>
                    <a:pt x="286193" y="186653"/>
                  </a:lnTo>
                  <a:lnTo>
                    <a:pt x="282507" y="182963"/>
                  </a:lnTo>
                  <a:lnTo>
                    <a:pt x="282507" y="179272"/>
                  </a:lnTo>
                  <a:lnTo>
                    <a:pt x="278821" y="179272"/>
                  </a:lnTo>
                  <a:lnTo>
                    <a:pt x="278821" y="175582"/>
                  </a:lnTo>
                  <a:lnTo>
                    <a:pt x="278821" y="171891"/>
                  </a:lnTo>
                  <a:lnTo>
                    <a:pt x="275125" y="171891"/>
                  </a:lnTo>
                  <a:lnTo>
                    <a:pt x="271439" y="168200"/>
                  </a:lnTo>
                  <a:lnTo>
                    <a:pt x="267753" y="168200"/>
                  </a:lnTo>
                  <a:lnTo>
                    <a:pt x="264066" y="164510"/>
                  </a:lnTo>
                  <a:lnTo>
                    <a:pt x="264066" y="160819"/>
                  </a:lnTo>
                  <a:lnTo>
                    <a:pt x="260371" y="160819"/>
                  </a:lnTo>
                  <a:lnTo>
                    <a:pt x="260371" y="157129"/>
                  </a:lnTo>
                  <a:lnTo>
                    <a:pt x="264066" y="157129"/>
                  </a:lnTo>
                  <a:lnTo>
                    <a:pt x="264066" y="153438"/>
                  </a:lnTo>
                  <a:lnTo>
                    <a:pt x="260371" y="153438"/>
                  </a:lnTo>
                  <a:lnTo>
                    <a:pt x="256684" y="153438"/>
                  </a:lnTo>
                  <a:lnTo>
                    <a:pt x="252998" y="157129"/>
                  </a:lnTo>
                  <a:lnTo>
                    <a:pt x="249303" y="157129"/>
                  </a:lnTo>
                  <a:lnTo>
                    <a:pt x="245616" y="157129"/>
                  </a:lnTo>
                  <a:lnTo>
                    <a:pt x="241930" y="157129"/>
                  </a:lnTo>
                  <a:lnTo>
                    <a:pt x="241930" y="153438"/>
                  </a:lnTo>
                  <a:lnTo>
                    <a:pt x="238235" y="153438"/>
                  </a:lnTo>
                  <a:lnTo>
                    <a:pt x="238235" y="157129"/>
                  </a:lnTo>
                  <a:lnTo>
                    <a:pt x="234548" y="157129"/>
                  </a:lnTo>
                  <a:lnTo>
                    <a:pt x="230862" y="157129"/>
                  </a:lnTo>
                  <a:lnTo>
                    <a:pt x="230862" y="153438"/>
                  </a:lnTo>
                  <a:lnTo>
                    <a:pt x="227166" y="153438"/>
                  </a:lnTo>
                  <a:lnTo>
                    <a:pt x="223480" y="149747"/>
                  </a:lnTo>
                  <a:lnTo>
                    <a:pt x="223480" y="146057"/>
                  </a:lnTo>
                  <a:lnTo>
                    <a:pt x="219794" y="146057"/>
                  </a:lnTo>
                  <a:lnTo>
                    <a:pt x="216098" y="146057"/>
                  </a:lnTo>
                  <a:lnTo>
                    <a:pt x="212412" y="146057"/>
                  </a:lnTo>
                  <a:lnTo>
                    <a:pt x="212412" y="142366"/>
                  </a:lnTo>
                  <a:lnTo>
                    <a:pt x="208726" y="142366"/>
                  </a:lnTo>
                  <a:lnTo>
                    <a:pt x="205030" y="142366"/>
                  </a:lnTo>
                  <a:lnTo>
                    <a:pt x="201344" y="142366"/>
                  </a:lnTo>
                  <a:lnTo>
                    <a:pt x="197658" y="146057"/>
                  </a:lnTo>
                  <a:lnTo>
                    <a:pt x="197658" y="149747"/>
                  </a:lnTo>
                  <a:lnTo>
                    <a:pt x="193962" y="146057"/>
                  </a:lnTo>
                  <a:lnTo>
                    <a:pt x="193962" y="142366"/>
                  </a:lnTo>
                  <a:lnTo>
                    <a:pt x="190276" y="146057"/>
                  </a:lnTo>
                  <a:lnTo>
                    <a:pt x="193962" y="149747"/>
                  </a:lnTo>
                  <a:lnTo>
                    <a:pt x="182904" y="146057"/>
                  </a:lnTo>
                  <a:lnTo>
                    <a:pt x="186590" y="142366"/>
                  </a:lnTo>
                  <a:lnTo>
                    <a:pt x="186590" y="138675"/>
                  </a:lnTo>
                  <a:lnTo>
                    <a:pt x="179208" y="134985"/>
                  </a:lnTo>
                  <a:lnTo>
                    <a:pt x="179208" y="131295"/>
                  </a:lnTo>
                  <a:lnTo>
                    <a:pt x="171836" y="120223"/>
                  </a:lnTo>
                  <a:lnTo>
                    <a:pt x="171836" y="116533"/>
                  </a:lnTo>
                  <a:lnTo>
                    <a:pt x="171836" y="112842"/>
                  </a:lnTo>
                  <a:lnTo>
                    <a:pt x="168140" y="105461"/>
                  </a:lnTo>
                  <a:lnTo>
                    <a:pt x="164454" y="98080"/>
                  </a:lnTo>
                  <a:lnTo>
                    <a:pt x="160768" y="90698"/>
                  </a:lnTo>
                  <a:lnTo>
                    <a:pt x="160768" y="87008"/>
                  </a:lnTo>
                  <a:lnTo>
                    <a:pt x="164454" y="87008"/>
                  </a:lnTo>
                  <a:lnTo>
                    <a:pt x="168140" y="83317"/>
                  </a:lnTo>
                  <a:lnTo>
                    <a:pt x="179208" y="79627"/>
                  </a:lnTo>
                  <a:lnTo>
                    <a:pt x="182904" y="75936"/>
                  </a:lnTo>
                  <a:lnTo>
                    <a:pt x="186590" y="75936"/>
                  </a:lnTo>
                  <a:lnTo>
                    <a:pt x="186590" y="72246"/>
                  </a:lnTo>
                  <a:lnTo>
                    <a:pt x="193962" y="64864"/>
                  </a:lnTo>
                  <a:lnTo>
                    <a:pt x="197658" y="61174"/>
                  </a:lnTo>
                  <a:lnTo>
                    <a:pt x="201344" y="53792"/>
                  </a:lnTo>
                  <a:lnTo>
                    <a:pt x="197658" y="53792"/>
                  </a:lnTo>
                  <a:lnTo>
                    <a:pt x="193962" y="46412"/>
                  </a:lnTo>
                  <a:lnTo>
                    <a:pt x="190276" y="42722"/>
                  </a:lnTo>
                  <a:lnTo>
                    <a:pt x="186590" y="39031"/>
                  </a:lnTo>
                  <a:lnTo>
                    <a:pt x="179208" y="31650"/>
                  </a:lnTo>
                  <a:lnTo>
                    <a:pt x="175522" y="27959"/>
                  </a:lnTo>
                  <a:lnTo>
                    <a:pt x="164454" y="16887"/>
                  </a:lnTo>
                  <a:lnTo>
                    <a:pt x="164454" y="13197"/>
                  </a:lnTo>
                  <a:lnTo>
                    <a:pt x="160768" y="5815"/>
                  </a:lnTo>
                  <a:close/>
                  <a:moveTo>
                    <a:pt x="186590" y="507737"/>
                  </a:moveTo>
                  <a:lnTo>
                    <a:pt x="186590" y="511423"/>
                  </a:lnTo>
                  <a:lnTo>
                    <a:pt x="186590" y="515109"/>
                  </a:lnTo>
                  <a:lnTo>
                    <a:pt x="190276" y="511423"/>
                  </a:lnTo>
                  <a:lnTo>
                    <a:pt x="186590" y="507737"/>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11" name="Google Shape;403;p2">
              <a:extLst>
                <a:ext uri="{FF2B5EF4-FFF2-40B4-BE49-F238E27FC236}">
                  <a16:creationId xmlns:a16="http://schemas.microsoft.com/office/drawing/2014/main" id="{641F357B-6580-4B2C-88A0-85E5811D26CA}"/>
                </a:ext>
              </a:extLst>
            </p:cNvPr>
            <p:cNvSpPr/>
            <p:nvPr/>
          </p:nvSpPr>
          <p:spPr>
            <a:xfrm>
              <a:off x="2905842" y="2941573"/>
              <a:ext cx="2079356" cy="1451217"/>
            </a:xfrm>
            <a:custGeom>
              <a:avLst/>
              <a:gdLst/>
              <a:ahLst/>
              <a:cxnLst/>
              <a:rect l="l" t="t" r="r" b="b"/>
              <a:pathLst>
                <a:path w="914400" h="638175" extrusionOk="0">
                  <a:moveTo>
                    <a:pt x="437447" y="5812"/>
                  </a:moveTo>
                  <a:lnTo>
                    <a:pt x="430065" y="9502"/>
                  </a:lnTo>
                  <a:lnTo>
                    <a:pt x="430065" y="13193"/>
                  </a:lnTo>
                  <a:lnTo>
                    <a:pt x="426379" y="24264"/>
                  </a:lnTo>
                  <a:lnTo>
                    <a:pt x="422693" y="31645"/>
                  </a:lnTo>
                  <a:lnTo>
                    <a:pt x="422693" y="35335"/>
                  </a:lnTo>
                  <a:lnTo>
                    <a:pt x="422693" y="39026"/>
                  </a:lnTo>
                  <a:lnTo>
                    <a:pt x="418998" y="46407"/>
                  </a:lnTo>
                  <a:lnTo>
                    <a:pt x="418998" y="50098"/>
                  </a:lnTo>
                  <a:lnTo>
                    <a:pt x="418998" y="53789"/>
                  </a:lnTo>
                  <a:lnTo>
                    <a:pt x="415311" y="50098"/>
                  </a:lnTo>
                  <a:lnTo>
                    <a:pt x="415311" y="57479"/>
                  </a:lnTo>
                  <a:lnTo>
                    <a:pt x="411625" y="57479"/>
                  </a:lnTo>
                  <a:lnTo>
                    <a:pt x="411625" y="53789"/>
                  </a:lnTo>
                  <a:lnTo>
                    <a:pt x="411625" y="50098"/>
                  </a:lnTo>
                  <a:lnTo>
                    <a:pt x="407929" y="57479"/>
                  </a:lnTo>
                  <a:lnTo>
                    <a:pt x="407929" y="61170"/>
                  </a:lnTo>
                  <a:lnTo>
                    <a:pt x="411625" y="61170"/>
                  </a:lnTo>
                  <a:lnTo>
                    <a:pt x="411625" y="64860"/>
                  </a:lnTo>
                  <a:lnTo>
                    <a:pt x="407929" y="64860"/>
                  </a:lnTo>
                  <a:lnTo>
                    <a:pt x="411625" y="68551"/>
                  </a:lnTo>
                  <a:lnTo>
                    <a:pt x="407929" y="72242"/>
                  </a:lnTo>
                  <a:lnTo>
                    <a:pt x="404243" y="75932"/>
                  </a:lnTo>
                  <a:lnTo>
                    <a:pt x="393175" y="87004"/>
                  </a:lnTo>
                  <a:lnTo>
                    <a:pt x="385793" y="94385"/>
                  </a:lnTo>
                  <a:lnTo>
                    <a:pt x="378421" y="98075"/>
                  </a:lnTo>
                  <a:lnTo>
                    <a:pt x="378421" y="101766"/>
                  </a:lnTo>
                  <a:lnTo>
                    <a:pt x="374725" y="101766"/>
                  </a:lnTo>
                  <a:lnTo>
                    <a:pt x="371039" y="105456"/>
                  </a:lnTo>
                  <a:lnTo>
                    <a:pt x="367353" y="105456"/>
                  </a:lnTo>
                  <a:lnTo>
                    <a:pt x="363667" y="109147"/>
                  </a:lnTo>
                  <a:lnTo>
                    <a:pt x="363667" y="112837"/>
                  </a:lnTo>
                  <a:lnTo>
                    <a:pt x="359971" y="112837"/>
                  </a:lnTo>
                  <a:lnTo>
                    <a:pt x="359971" y="116528"/>
                  </a:lnTo>
                  <a:lnTo>
                    <a:pt x="356285" y="116528"/>
                  </a:lnTo>
                  <a:lnTo>
                    <a:pt x="352599" y="116528"/>
                  </a:lnTo>
                  <a:lnTo>
                    <a:pt x="345217" y="120218"/>
                  </a:lnTo>
                  <a:lnTo>
                    <a:pt x="341531" y="123909"/>
                  </a:lnTo>
                  <a:lnTo>
                    <a:pt x="337835" y="123909"/>
                  </a:lnTo>
                  <a:lnTo>
                    <a:pt x="334149" y="127597"/>
                  </a:lnTo>
                  <a:lnTo>
                    <a:pt x="326767" y="131293"/>
                  </a:lnTo>
                  <a:lnTo>
                    <a:pt x="323081" y="131293"/>
                  </a:lnTo>
                  <a:lnTo>
                    <a:pt x="319395" y="134979"/>
                  </a:lnTo>
                  <a:lnTo>
                    <a:pt x="315699" y="138675"/>
                  </a:lnTo>
                  <a:lnTo>
                    <a:pt x="315699" y="142361"/>
                  </a:lnTo>
                  <a:lnTo>
                    <a:pt x="312013" y="142361"/>
                  </a:lnTo>
                  <a:lnTo>
                    <a:pt x="308326" y="142361"/>
                  </a:lnTo>
                  <a:lnTo>
                    <a:pt x="308326" y="146057"/>
                  </a:lnTo>
                  <a:lnTo>
                    <a:pt x="308326" y="149743"/>
                  </a:lnTo>
                  <a:lnTo>
                    <a:pt x="304631" y="149743"/>
                  </a:lnTo>
                  <a:lnTo>
                    <a:pt x="304631" y="153439"/>
                  </a:lnTo>
                  <a:lnTo>
                    <a:pt x="300945" y="153439"/>
                  </a:lnTo>
                  <a:lnTo>
                    <a:pt x="300945" y="157125"/>
                  </a:lnTo>
                  <a:lnTo>
                    <a:pt x="297258" y="157125"/>
                  </a:lnTo>
                  <a:lnTo>
                    <a:pt x="297258" y="160811"/>
                  </a:lnTo>
                  <a:lnTo>
                    <a:pt x="289877" y="164507"/>
                  </a:lnTo>
                  <a:lnTo>
                    <a:pt x="286190" y="168193"/>
                  </a:lnTo>
                  <a:lnTo>
                    <a:pt x="282504" y="171889"/>
                  </a:lnTo>
                  <a:lnTo>
                    <a:pt x="282504" y="175575"/>
                  </a:lnTo>
                  <a:lnTo>
                    <a:pt x="278808" y="182957"/>
                  </a:lnTo>
                  <a:lnTo>
                    <a:pt x="278808" y="190338"/>
                  </a:lnTo>
                  <a:lnTo>
                    <a:pt x="275122" y="197720"/>
                  </a:lnTo>
                  <a:lnTo>
                    <a:pt x="275122" y="201407"/>
                  </a:lnTo>
                  <a:lnTo>
                    <a:pt x="271436" y="208788"/>
                  </a:lnTo>
                  <a:lnTo>
                    <a:pt x="267740" y="212484"/>
                  </a:lnTo>
                  <a:lnTo>
                    <a:pt x="252986" y="212484"/>
                  </a:lnTo>
                  <a:lnTo>
                    <a:pt x="249300" y="212484"/>
                  </a:lnTo>
                  <a:lnTo>
                    <a:pt x="241918" y="219866"/>
                  </a:lnTo>
                  <a:lnTo>
                    <a:pt x="238232" y="216170"/>
                  </a:lnTo>
                  <a:lnTo>
                    <a:pt x="234536" y="219866"/>
                  </a:lnTo>
                  <a:lnTo>
                    <a:pt x="223478" y="223552"/>
                  </a:lnTo>
                  <a:lnTo>
                    <a:pt x="216096" y="223552"/>
                  </a:lnTo>
                  <a:lnTo>
                    <a:pt x="212410" y="227248"/>
                  </a:lnTo>
                  <a:lnTo>
                    <a:pt x="205028" y="227248"/>
                  </a:lnTo>
                  <a:lnTo>
                    <a:pt x="201342" y="245698"/>
                  </a:lnTo>
                  <a:lnTo>
                    <a:pt x="201342" y="249384"/>
                  </a:lnTo>
                  <a:lnTo>
                    <a:pt x="208714" y="253080"/>
                  </a:lnTo>
                  <a:lnTo>
                    <a:pt x="208714" y="249384"/>
                  </a:lnTo>
                  <a:lnTo>
                    <a:pt x="223478" y="260461"/>
                  </a:lnTo>
                  <a:lnTo>
                    <a:pt x="223478" y="264148"/>
                  </a:lnTo>
                  <a:lnTo>
                    <a:pt x="223478" y="267843"/>
                  </a:lnTo>
                  <a:lnTo>
                    <a:pt x="223478" y="271530"/>
                  </a:lnTo>
                  <a:lnTo>
                    <a:pt x="223478" y="275225"/>
                  </a:lnTo>
                  <a:lnTo>
                    <a:pt x="223478" y="286293"/>
                  </a:lnTo>
                  <a:lnTo>
                    <a:pt x="227164" y="289989"/>
                  </a:lnTo>
                  <a:lnTo>
                    <a:pt x="245604" y="289989"/>
                  </a:lnTo>
                  <a:lnTo>
                    <a:pt x="245604" y="293675"/>
                  </a:lnTo>
                  <a:lnTo>
                    <a:pt x="241918" y="293675"/>
                  </a:lnTo>
                  <a:lnTo>
                    <a:pt x="245604" y="297361"/>
                  </a:lnTo>
                  <a:lnTo>
                    <a:pt x="245604" y="301057"/>
                  </a:lnTo>
                  <a:lnTo>
                    <a:pt x="245604" y="304743"/>
                  </a:lnTo>
                  <a:lnTo>
                    <a:pt x="249300" y="304743"/>
                  </a:lnTo>
                  <a:lnTo>
                    <a:pt x="252986" y="304743"/>
                  </a:lnTo>
                  <a:lnTo>
                    <a:pt x="252986" y="312125"/>
                  </a:lnTo>
                  <a:lnTo>
                    <a:pt x="260368" y="312125"/>
                  </a:lnTo>
                  <a:lnTo>
                    <a:pt x="260368" y="315821"/>
                  </a:lnTo>
                  <a:lnTo>
                    <a:pt x="260368" y="319507"/>
                  </a:lnTo>
                  <a:lnTo>
                    <a:pt x="252986" y="319507"/>
                  </a:lnTo>
                  <a:lnTo>
                    <a:pt x="252986" y="323203"/>
                  </a:lnTo>
                  <a:lnTo>
                    <a:pt x="252986" y="326889"/>
                  </a:lnTo>
                  <a:lnTo>
                    <a:pt x="256672" y="326889"/>
                  </a:lnTo>
                  <a:lnTo>
                    <a:pt x="256672" y="330585"/>
                  </a:lnTo>
                  <a:lnTo>
                    <a:pt x="252986" y="330585"/>
                  </a:lnTo>
                  <a:lnTo>
                    <a:pt x="249300" y="330585"/>
                  </a:lnTo>
                  <a:lnTo>
                    <a:pt x="249300" y="334271"/>
                  </a:lnTo>
                  <a:lnTo>
                    <a:pt x="245604" y="337966"/>
                  </a:lnTo>
                  <a:lnTo>
                    <a:pt x="245604" y="345339"/>
                  </a:lnTo>
                  <a:lnTo>
                    <a:pt x="245604" y="349035"/>
                  </a:lnTo>
                  <a:lnTo>
                    <a:pt x="241918" y="352721"/>
                  </a:lnTo>
                  <a:lnTo>
                    <a:pt x="238232" y="356416"/>
                  </a:lnTo>
                  <a:lnTo>
                    <a:pt x="234536" y="356416"/>
                  </a:lnTo>
                  <a:lnTo>
                    <a:pt x="234536" y="360103"/>
                  </a:lnTo>
                  <a:lnTo>
                    <a:pt x="238232" y="363798"/>
                  </a:lnTo>
                  <a:lnTo>
                    <a:pt x="245604" y="367484"/>
                  </a:lnTo>
                  <a:lnTo>
                    <a:pt x="249300" y="367484"/>
                  </a:lnTo>
                  <a:lnTo>
                    <a:pt x="252986" y="367484"/>
                  </a:lnTo>
                  <a:lnTo>
                    <a:pt x="256672" y="363798"/>
                  </a:lnTo>
                  <a:lnTo>
                    <a:pt x="260368" y="360103"/>
                  </a:lnTo>
                  <a:lnTo>
                    <a:pt x="264054" y="360103"/>
                  </a:lnTo>
                  <a:lnTo>
                    <a:pt x="267740" y="356416"/>
                  </a:lnTo>
                  <a:lnTo>
                    <a:pt x="267740" y="352721"/>
                  </a:lnTo>
                  <a:lnTo>
                    <a:pt x="271436" y="352721"/>
                  </a:lnTo>
                  <a:lnTo>
                    <a:pt x="271436" y="349035"/>
                  </a:lnTo>
                  <a:lnTo>
                    <a:pt x="271436" y="345339"/>
                  </a:lnTo>
                  <a:lnTo>
                    <a:pt x="267740" y="341653"/>
                  </a:lnTo>
                  <a:lnTo>
                    <a:pt x="278808" y="337966"/>
                  </a:lnTo>
                  <a:lnTo>
                    <a:pt x="282504" y="345339"/>
                  </a:lnTo>
                  <a:lnTo>
                    <a:pt x="282504" y="349035"/>
                  </a:lnTo>
                  <a:lnTo>
                    <a:pt x="282504" y="352721"/>
                  </a:lnTo>
                  <a:lnTo>
                    <a:pt x="282504" y="356416"/>
                  </a:lnTo>
                  <a:lnTo>
                    <a:pt x="286190" y="360103"/>
                  </a:lnTo>
                  <a:lnTo>
                    <a:pt x="282504" y="363798"/>
                  </a:lnTo>
                  <a:lnTo>
                    <a:pt x="282504" y="367484"/>
                  </a:lnTo>
                  <a:lnTo>
                    <a:pt x="282504" y="385944"/>
                  </a:lnTo>
                  <a:lnTo>
                    <a:pt x="289877" y="385944"/>
                  </a:lnTo>
                  <a:lnTo>
                    <a:pt x="289877" y="389630"/>
                  </a:lnTo>
                  <a:lnTo>
                    <a:pt x="286190" y="389630"/>
                  </a:lnTo>
                  <a:lnTo>
                    <a:pt x="297258" y="397012"/>
                  </a:lnTo>
                  <a:lnTo>
                    <a:pt x="297258" y="408080"/>
                  </a:lnTo>
                  <a:lnTo>
                    <a:pt x="297258" y="411776"/>
                  </a:lnTo>
                  <a:lnTo>
                    <a:pt x="297258" y="415462"/>
                  </a:lnTo>
                  <a:lnTo>
                    <a:pt x="297258" y="419158"/>
                  </a:lnTo>
                  <a:lnTo>
                    <a:pt x="300945" y="422844"/>
                  </a:lnTo>
                  <a:lnTo>
                    <a:pt x="304631" y="426539"/>
                  </a:lnTo>
                  <a:lnTo>
                    <a:pt x="308326" y="426539"/>
                  </a:lnTo>
                  <a:lnTo>
                    <a:pt x="308326" y="430226"/>
                  </a:lnTo>
                  <a:lnTo>
                    <a:pt x="312013" y="437607"/>
                  </a:lnTo>
                  <a:lnTo>
                    <a:pt x="312013" y="441294"/>
                  </a:lnTo>
                  <a:lnTo>
                    <a:pt x="315699" y="444989"/>
                  </a:lnTo>
                  <a:lnTo>
                    <a:pt x="312013" y="448676"/>
                  </a:lnTo>
                  <a:lnTo>
                    <a:pt x="315699" y="452371"/>
                  </a:lnTo>
                  <a:lnTo>
                    <a:pt x="315699" y="456057"/>
                  </a:lnTo>
                  <a:lnTo>
                    <a:pt x="315699" y="459753"/>
                  </a:lnTo>
                  <a:lnTo>
                    <a:pt x="312013" y="463439"/>
                  </a:lnTo>
                  <a:lnTo>
                    <a:pt x="304631" y="467135"/>
                  </a:lnTo>
                  <a:lnTo>
                    <a:pt x="297258" y="463439"/>
                  </a:lnTo>
                  <a:lnTo>
                    <a:pt x="286190" y="459753"/>
                  </a:lnTo>
                  <a:lnTo>
                    <a:pt x="278808" y="456057"/>
                  </a:lnTo>
                  <a:lnTo>
                    <a:pt x="275122" y="448676"/>
                  </a:lnTo>
                  <a:lnTo>
                    <a:pt x="271436" y="448676"/>
                  </a:lnTo>
                  <a:lnTo>
                    <a:pt x="267740" y="448676"/>
                  </a:lnTo>
                  <a:lnTo>
                    <a:pt x="264054" y="444989"/>
                  </a:lnTo>
                  <a:lnTo>
                    <a:pt x="260368" y="444989"/>
                  </a:lnTo>
                  <a:lnTo>
                    <a:pt x="252986" y="441294"/>
                  </a:lnTo>
                  <a:lnTo>
                    <a:pt x="249300" y="437607"/>
                  </a:lnTo>
                  <a:lnTo>
                    <a:pt x="245604" y="437607"/>
                  </a:lnTo>
                  <a:lnTo>
                    <a:pt x="241918" y="437607"/>
                  </a:lnTo>
                  <a:lnTo>
                    <a:pt x="230850" y="437607"/>
                  </a:lnTo>
                  <a:lnTo>
                    <a:pt x="227164" y="433921"/>
                  </a:lnTo>
                  <a:lnTo>
                    <a:pt x="223478" y="433921"/>
                  </a:lnTo>
                  <a:lnTo>
                    <a:pt x="219782" y="437607"/>
                  </a:lnTo>
                  <a:lnTo>
                    <a:pt x="216096" y="441294"/>
                  </a:lnTo>
                  <a:lnTo>
                    <a:pt x="212410" y="441294"/>
                  </a:lnTo>
                  <a:lnTo>
                    <a:pt x="205028" y="444989"/>
                  </a:lnTo>
                  <a:lnTo>
                    <a:pt x="201342" y="444989"/>
                  </a:lnTo>
                  <a:lnTo>
                    <a:pt x="197646" y="448676"/>
                  </a:lnTo>
                  <a:lnTo>
                    <a:pt x="193960" y="448676"/>
                  </a:lnTo>
                  <a:lnTo>
                    <a:pt x="186578" y="444989"/>
                  </a:lnTo>
                  <a:lnTo>
                    <a:pt x="182892" y="448676"/>
                  </a:lnTo>
                  <a:lnTo>
                    <a:pt x="179206" y="448676"/>
                  </a:lnTo>
                  <a:lnTo>
                    <a:pt x="175510" y="452371"/>
                  </a:lnTo>
                  <a:lnTo>
                    <a:pt x="175510" y="456057"/>
                  </a:lnTo>
                  <a:lnTo>
                    <a:pt x="171824" y="456057"/>
                  </a:lnTo>
                  <a:lnTo>
                    <a:pt x="168138" y="459753"/>
                  </a:lnTo>
                  <a:lnTo>
                    <a:pt x="164442" y="459753"/>
                  </a:lnTo>
                  <a:lnTo>
                    <a:pt x="160756" y="456057"/>
                  </a:lnTo>
                  <a:lnTo>
                    <a:pt x="157069" y="452371"/>
                  </a:lnTo>
                  <a:lnTo>
                    <a:pt x="146001" y="452371"/>
                  </a:lnTo>
                  <a:lnTo>
                    <a:pt x="142315" y="452371"/>
                  </a:lnTo>
                  <a:lnTo>
                    <a:pt x="134933" y="444989"/>
                  </a:lnTo>
                  <a:lnTo>
                    <a:pt x="127554" y="441294"/>
                  </a:lnTo>
                  <a:lnTo>
                    <a:pt x="123865" y="441294"/>
                  </a:lnTo>
                  <a:lnTo>
                    <a:pt x="120176" y="441294"/>
                  </a:lnTo>
                  <a:lnTo>
                    <a:pt x="120176" y="448676"/>
                  </a:lnTo>
                  <a:lnTo>
                    <a:pt x="116487" y="452371"/>
                  </a:lnTo>
                  <a:lnTo>
                    <a:pt x="112798" y="456057"/>
                  </a:lnTo>
                  <a:lnTo>
                    <a:pt x="109108" y="456057"/>
                  </a:lnTo>
                  <a:lnTo>
                    <a:pt x="105419" y="456057"/>
                  </a:lnTo>
                  <a:lnTo>
                    <a:pt x="101730" y="452371"/>
                  </a:lnTo>
                  <a:lnTo>
                    <a:pt x="98041" y="448676"/>
                  </a:lnTo>
                  <a:lnTo>
                    <a:pt x="94352" y="456057"/>
                  </a:lnTo>
                  <a:lnTo>
                    <a:pt x="90663" y="467135"/>
                  </a:lnTo>
                  <a:lnTo>
                    <a:pt x="83284" y="474517"/>
                  </a:lnTo>
                  <a:lnTo>
                    <a:pt x="79595" y="478203"/>
                  </a:lnTo>
                  <a:lnTo>
                    <a:pt x="83284" y="478203"/>
                  </a:lnTo>
                  <a:lnTo>
                    <a:pt x="79595" y="481899"/>
                  </a:lnTo>
                  <a:lnTo>
                    <a:pt x="75906" y="489271"/>
                  </a:lnTo>
                  <a:lnTo>
                    <a:pt x="72217" y="489271"/>
                  </a:lnTo>
                  <a:lnTo>
                    <a:pt x="72217" y="492967"/>
                  </a:lnTo>
                  <a:lnTo>
                    <a:pt x="68528" y="504035"/>
                  </a:lnTo>
                  <a:lnTo>
                    <a:pt x="64839" y="507730"/>
                  </a:lnTo>
                  <a:lnTo>
                    <a:pt x="64839" y="511417"/>
                  </a:lnTo>
                  <a:lnTo>
                    <a:pt x="61149" y="511417"/>
                  </a:lnTo>
                  <a:lnTo>
                    <a:pt x="53771" y="511417"/>
                  </a:lnTo>
                  <a:lnTo>
                    <a:pt x="50082" y="511417"/>
                  </a:lnTo>
                  <a:lnTo>
                    <a:pt x="50082" y="518799"/>
                  </a:lnTo>
                  <a:lnTo>
                    <a:pt x="46393" y="522494"/>
                  </a:lnTo>
                  <a:lnTo>
                    <a:pt x="42704" y="522494"/>
                  </a:lnTo>
                  <a:lnTo>
                    <a:pt x="39014" y="522494"/>
                  </a:lnTo>
                  <a:lnTo>
                    <a:pt x="35325" y="522494"/>
                  </a:lnTo>
                  <a:lnTo>
                    <a:pt x="35325" y="526180"/>
                  </a:lnTo>
                  <a:lnTo>
                    <a:pt x="35325" y="529876"/>
                  </a:lnTo>
                  <a:lnTo>
                    <a:pt x="39014" y="533562"/>
                  </a:lnTo>
                  <a:lnTo>
                    <a:pt x="39014" y="537248"/>
                  </a:lnTo>
                  <a:lnTo>
                    <a:pt x="35325" y="537248"/>
                  </a:lnTo>
                  <a:lnTo>
                    <a:pt x="31636" y="533562"/>
                  </a:lnTo>
                  <a:lnTo>
                    <a:pt x="20569" y="537248"/>
                  </a:lnTo>
                  <a:lnTo>
                    <a:pt x="16879" y="533562"/>
                  </a:lnTo>
                  <a:lnTo>
                    <a:pt x="9501" y="537248"/>
                  </a:lnTo>
                  <a:lnTo>
                    <a:pt x="5812" y="533562"/>
                  </a:lnTo>
                  <a:lnTo>
                    <a:pt x="5812" y="537248"/>
                  </a:lnTo>
                  <a:lnTo>
                    <a:pt x="5812" y="540944"/>
                  </a:lnTo>
                  <a:lnTo>
                    <a:pt x="9501" y="544630"/>
                  </a:lnTo>
                  <a:lnTo>
                    <a:pt x="5812" y="544630"/>
                  </a:lnTo>
                  <a:lnTo>
                    <a:pt x="9501" y="548326"/>
                  </a:lnTo>
                  <a:lnTo>
                    <a:pt x="13190" y="548326"/>
                  </a:lnTo>
                  <a:lnTo>
                    <a:pt x="16879" y="548326"/>
                  </a:lnTo>
                  <a:lnTo>
                    <a:pt x="24258" y="548326"/>
                  </a:lnTo>
                  <a:lnTo>
                    <a:pt x="20569" y="563090"/>
                  </a:lnTo>
                  <a:lnTo>
                    <a:pt x="20569" y="566776"/>
                  </a:lnTo>
                  <a:lnTo>
                    <a:pt x="13190" y="566776"/>
                  </a:lnTo>
                  <a:lnTo>
                    <a:pt x="13190" y="570472"/>
                  </a:lnTo>
                  <a:lnTo>
                    <a:pt x="13190" y="574158"/>
                  </a:lnTo>
                  <a:lnTo>
                    <a:pt x="16879" y="574158"/>
                  </a:lnTo>
                  <a:lnTo>
                    <a:pt x="20569" y="577854"/>
                  </a:lnTo>
                  <a:lnTo>
                    <a:pt x="27947" y="581540"/>
                  </a:lnTo>
                  <a:lnTo>
                    <a:pt x="31636" y="585226"/>
                  </a:lnTo>
                  <a:lnTo>
                    <a:pt x="35325" y="585226"/>
                  </a:lnTo>
                  <a:lnTo>
                    <a:pt x="35325" y="588922"/>
                  </a:lnTo>
                  <a:lnTo>
                    <a:pt x="39014" y="592608"/>
                  </a:lnTo>
                  <a:lnTo>
                    <a:pt x="39014" y="596303"/>
                  </a:lnTo>
                  <a:lnTo>
                    <a:pt x="42704" y="596303"/>
                  </a:lnTo>
                  <a:lnTo>
                    <a:pt x="42704" y="599990"/>
                  </a:lnTo>
                  <a:lnTo>
                    <a:pt x="46393" y="599990"/>
                  </a:lnTo>
                  <a:lnTo>
                    <a:pt x="50082" y="596303"/>
                  </a:lnTo>
                  <a:lnTo>
                    <a:pt x="53771" y="592608"/>
                  </a:lnTo>
                  <a:lnTo>
                    <a:pt x="57460" y="592608"/>
                  </a:lnTo>
                  <a:lnTo>
                    <a:pt x="61149" y="596303"/>
                  </a:lnTo>
                  <a:lnTo>
                    <a:pt x="64839" y="599990"/>
                  </a:lnTo>
                  <a:lnTo>
                    <a:pt x="75906" y="603685"/>
                  </a:lnTo>
                  <a:lnTo>
                    <a:pt x="75906" y="607372"/>
                  </a:lnTo>
                  <a:lnTo>
                    <a:pt x="75906" y="611067"/>
                  </a:lnTo>
                  <a:lnTo>
                    <a:pt x="75906" y="614753"/>
                  </a:lnTo>
                  <a:lnTo>
                    <a:pt x="79595" y="618449"/>
                  </a:lnTo>
                  <a:lnTo>
                    <a:pt x="75906" y="622135"/>
                  </a:lnTo>
                  <a:lnTo>
                    <a:pt x="72217" y="625831"/>
                  </a:lnTo>
                  <a:lnTo>
                    <a:pt x="68528" y="625831"/>
                  </a:lnTo>
                  <a:lnTo>
                    <a:pt x="68528" y="629517"/>
                  </a:lnTo>
                  <a:lnTo>
                    <a:pt x="72217" y="633203"/>
                  </a:lnTo>
                  <a:lnTo>
                    <a:pt x="79595" y="629517"/>
                  </a:lnTo>
                  <a:lnTo>
                    <a:pt x="86973" y="629517"/>
                  </a:lnTo>
                  <a:lnTo>
                    <a:pt x="94352" y="629517"/>
                  </a:lnTo>
                  <a:lnTo>
                    <a:pt x="98041" y="629517"/>
                  </a:lnTo>
                  <a:lnTo>
                    <a:pt x="105419" y="629517"/>
                  </a:lnTo>
                  <a:lnTo>
                    <a:pt x="109108" y="629517"/>
                  </a:lnTo>
                  <a:lnTo>
                    <a:pt x="112798" y="629517"/>
                  </a:lnTo>
                  <a:lnTo>
                    <a:pt x="116487" y="625831"/>
                  </a:lnTo>
                  <a:lnTo>
                    <a:pt x="120176" y="629517"/>
                  </a:lnTo>
                  <a:lnTo>
                    <a:pt x="127554" y="633203"/>
                  </a:lnTo>
                  <a:lnTo>
                    <a:pt x="131243" y="636899"/>
                  </a:lnTo>
                  <a:lnTo>
                    <a:pt x="134933" y="633203"/>
                  </a:lnTo>
                  <a:lnTo>
                    <a:pt x="138620" y="629517"/>
                  </a:lnTo>
                  <a:lnTo>
                    <a:pt x="146001" y="629517"/>
                  </a:lnTo>
                  <a:lnTo>
                    <a:pt x="153383" y="633203"/>
                  </a:lnTo>
                  <a:lnTo>
                    <a:pt x="157069" y="633203"/>
                  </a:lnTo>
                  <a:lnTo>
                    <a:pt x="157069" y="629517"/>
                  </a:lnTo>
                  <a:lnTo>
                    <a:pt x="164442" y="625831"/>
                  </a:lnTo>
                  <a:lnTo>
                    <a:pt x="182892" y="618449"/>
                  </a:lnTo>
                  <a:lnTo>
                    <a:pt x="182892" y="614753"/>
                  </a:lnTo>
                  <a:lnTo>
                    <a:pt x="186578" y="614753"/>
                  </a:lnTo>
                  <a:lnTo>
                    <a:pt x="186578" y="607372"/>
                  </a:lnTo>
                  <a:lnTo>
                    <a:pt x="186578" y="599990"/>
                  </a:lnTo>
                  <a:lnTo>
                    <a:pt x="190274" y="592608"/>
                  </a:lnTo>
                  <a:lnTo>
                    <a:pt x="190274" y="588922"/>
                  </a:lnTo>
                  <a:lnTo>
                    <a:pt x="197646" y="577854"/>
                  </a:lnTo>
                  <a:lnTo>
                    <a:pt x="201342" y="574158"/>
                  </a:lnTo>
                  <a:lnTo>
                    <a:pt x="205028" y="570472"/>
                  </a:lnTo>
                  <a:lnTo>
                    <a:pt x="205028" y="566776"/>
                  </a:lnTo>
                  <a:lnTo>
                    <a:pt x="208714" y="563090"/>
                  </a:lnTo>
                  <a:lnTo>
                    <a:pt x="212410" y="563090"/>
                  </a:lnTo>
                  <a:lnTo>
                    <a:pt x="212410" y="566776"/>
                  </a:lnTo>
                  <a:lnTo>
                    <a:pt x="216096" y="570472"/>
                  </a:lnTo>
                  <a:lnTo>
                    <a:pt x="219782" y="574158"/>
                  </a:lnTo>
                  <a:lnTo>
                    <a:pt x="223478" y="574158"/>
                  </a:lnTo>
                  <a:lnTo>
                    <a:pt x="230850" y="574158"/>
                  </a:lnTo>
                  <a:lnTo>
                    <a:pt x="238232" y="574158"/>
                  </a:lnTo>
                  <a:lnTo>
                    <a:pt x="241918" y="570472"/>
                  </a:lnTo>
                  <a:lnTo>
                    <a:pt x="245604" y="563090"/>
                  </a:lnTo>
                  <a:lnTo>
                    <a:pt x="245604" y="559394"/>
                  </a:lnTo>
                  <a:lnTo>
                    <a:pt x="249300" y="559394"/>
                  </a:lnTo>
                  <a:lnTo>
                    <a:pt x="252986" y="559394"/>
                  </a:lnTo>
                  <a:lnTo>
                    <a:pt x="256672" y="559394"/>
                  </a:lnTo>
                  <a:lnTo>
                    <a:pt x="260368" y="563090"/>
                  </a:lnTo>
                  <a:lnTo>
                    <a:pt x="260368" y="566776"/>
                  </a:lnTo>
                  <a:lnTo>
                    <a:pt x="264054" y="566776"/>
                  </a:lnTo>
                  <a:lnTo>
                    <a:pt x="267740" y="566776"/>
                  </a:lnTo>
                  <a:lnTo>
                    <a:pt x="271436" y="570472"/>
                  </a:lnTo>
                  <a:lnTo>
                    <a:pt x="275122" y="570472"/>
                  </a:lnTo>
                  <a:lnTo>
                    <a:pt x="278808" y="566776"/>
                  </a:lnTo>
                  <a:lnTo>
                    <a:pt x="278808" y="563090"/>
                  </a:lnTo>
                  <a:lnTo>
                    <a:pt x="282504" y="559394"/>
                  </a:lnTo>
                  <a:lnTo>
                    <a:pt x="286190" y="559394"/>
                  </a:lnTo>
                  <a:lnTo>
                    <a:pt x="293572" y="559394"/>
                  </a:lnTo>
                  <a:lnTo>
                    <a:pt x="297258" y="559394"/>
                  </a:lnTo>
                  <a:lnTo>
                    <a:pt x="300945" y="559394"/>
                  </a:lnTo>
                  <a:lnTo>
                    <a:pt x="308326" y="563090"/>
                  </a:lnTo>
                  <a:lnTo>
                    <a:pt x="312013" y="566776"/>
                  </a:lnTo>
                  <a:lnTo>
                    <a:pt x="315699" y="566776"/>
                  </a:lnTo>
                  <a:lnTo>
                    <a:pt x="323081" y="566776"/>
                  </a:lnTo>
                  <a:lnTo>
                    <a:pt x="326767" y="570472"/>
                  </a:lnTo>
                  <a:lnTo>
                    <a:pt x="326767" y="577854"/>
                  </a:lnTo>
                  <a:lnTo>
                    <a:pt x="330463" y="581540"/>
                  </a:lnTo>
                  <a:lnTo>
                    <a:pt x="334149" y="585226"/>
                  </a:lnTo>
                  <a:lnTo>
                    <a:pt x="337835" y="588922"/>
                  </a:lnTo>
                  <a:lnTo>
                    <a:pt x="341531" y="588922"/>
                  </a:lnTo>
                  <a:lnTo>
                    <a:pt x="345217" y="588922"/>
                  </a:lnTo>
                  <a:lnTo>
                    <a:pt x="348903" y="592608"/>
                  </a:lnTo>
                  <a:lnTo>
                    <a:pt x="352599" y="592608"/>
                  </a:lnTo>
                  <a:lnTo>
                    <a:pt x="352599" y="599990"/>
                  </a:lnTo>
                  <a:lnTo>
                    <a:pt x="356285" y="599990"/>
                  </a:lnTo>
                  <a:lnTo>
                    <a:pt x="359971" y="603685"/>
                  </a:lnTo>
                  <a:lnTo>
                    <a:pt x="363667" y="603685"/>
                  </a:lnTo>
                  <a:lnTo>
                    <a:pt x="367353" y="603685"/>
                  </a:lnTo>
                  <a:lnTo>
                    <a:pt x="371039" y="607372"/>
                  </a:lnTo>
                  <a:lnTo>
                    <a:pt x="374725" y="611067"/>
                  </a:lnTo>
                  <a:lnTo>
                    <a:pt x="374725" y="614753"/>
                  </a:lnTo>
                  <a:lnTo>
                    <a:pt x="378421" y="618449"/>
                  </a:lnTo>
                  <a:lnTo>
                    <a:pt x="382107" y="618449"/>
                  </a:lnTo>
                  <a:lnTo>
                    <a:pt x="385793" y="618449"/>
                  </a:lnTo>
                  <a:lnTo>
                    <a:pt x="393175" y="618449"/>
                  </a:lnTo>
                  <a:lnTo>
                    <a:pt x="396861" y="618449"/>
                  </a:lnTo>
                  <a:lnTo>
                    <a:pt x="407929" y="614753"/>
                  </a:lnTo>
                  <a:lnTo>
                    <a:pt x="411625" y="614753"/>
                  </a:lnTo>
                  <a:lnTo>
                    <a:pt x="422693" y="614753"/>
                  </a:lnTo>
                  <a:lnTo>
                    <a:pt x="430065" y="614753"/>
                  </a:lnTo>
                  <a:lnTo>
                    <a:pt x="433761" y="614753"/>
                  </a:lnTo>
                  <a:lnTo>
                    <a:pt x="437447" y="614753"/>
                  </a:lnTo>
                  <a:lnTo>
                    <a:pt x="437447" y="611067"/>
                  </a:lnTo>
                  <a:lnTo>
                    <a:pt x="437447" y="607372"/>
                  </a:lnTo>
                  <a:lnTo>
                    <a:pt x="433761" y="603685"/>
                  </a:lnTo>
                  <a:lnTo>
                    <a:pt x="437447" y="599990"/>
                  </a:lnTo>
                  <a:lnTo>
                    <a:pt x="444820" y="599990"/>
                  </a:lnTo>
                  <a:lnTo>
                    <a:pt x="448516" y="599990"/>
                  </a:lnTo>
                  <a:lnTo>
                    <a:pt x="452202" y="603685"/>
                  </a:lnTo>
                  <a:lnTo>
                    <a:pt x="455888" y="607372"/>
                  </a:lnTo>
                  <a:lnTo>
                    <a:pt x="455888" y="611067"/>
                  </a:lnTo>
                  <a:lnTo>
                    <a:pt x="459583" y="614753"/>
                  </a:lnTo>
                  <a:lnTo>
                    <a:pt x="459583" y="618449"/>
                  </a:lnTo>
                  <a:lnTo>
                    <a:pt x="463270" y="622135"/>
                  </a:lnTo>
                  <a:lnTo>
                    <a:pt x="466956" y="622135"/>
                  </a:lnTo>
                  <a:lnTo>
                    <a:pt x="466956" y="625831"/>
                  </a:lnTo>
                  <a:lnTo>
                    <a:pt x="470652" y="629517"/>
                  </a:lnTo>
                  <a:lnTo>
                    <a:pt x="474338" y="629517"/>
                  </a:lnTo>
                  <a:lnTo>
                    <a:pt x="478024" y="625831"/>
                  </a:lnTo>
                  <a:lnTo>
                    <a:pt x="478024" y="622135"/>
                  </a:lnTo>
                  <a:lnTo>
                    <a:pt x="481720" y="618449"/>
                  </a:lnTo>
                  <a:lnTo>
                    <a:pt x="489092" y="614753"/>
                  </a:lnTo>
                  <a:lnTo>
                    <a:pt x="492788" y="614753"/>
                  </a:lnTo>
                  <a:lnTo>
                    <a:pt x="496474" y="607372"/>
                  </a:lnTo>
                  <a:lnTo>
                    <a:pt x="496474" y="603685"/>
                  </a:lnTo>
                  <a:lnTo>
                    <a:pt x="492788" y="603685"/>
                  </a:lnTo>
                  <a:lnTo>
                    <a:pt x="492788" y="596303"/>
                  </a:lnTo>
                  <a:lnTo>
                    <a:pt x="496474" y="596303"/>
                  </a:lnTo>
                  <a:lnTo>
                    <a:pt x="492788" y="592608"/>
                  </a:lnTo>
                  <a:lnTo>
                    <a:pt x="489092" y="592608"/>
                  </a:lnTo>
                  <a:lnTo>
                    <a:pt x="489092" y="588922"/>
                  </a:lnTo>
                  <a:lnTo>
                    <a:pt x="489092" y="585226"/>
                  </a:lnTo>
                  <a:lnTo>
                    <a:pt x="489092" y="581540"/>
                  </a:lnTo>
                  <a:lnTo>
                    <a:pt x="481720" y="574158"/>
                  </a:lnTo>
                  <a:lnTo>
                    <a:pt x="478024" y="574158"/>
                  </a:lnTo>
                  <a:lnTo>
                    <a:pt x="474338" y="574158"/>
                  </a:lnTo>
                  <a:lnTo>
                    <a:pt x="474338" y="570472"/>
                  </a:lnTo>
                  <a:lnTo>
                    <a:pt x="478024" y="566776"/>
                  </a:lnTo>
                  <a:lnTo>
                    <a:pt x="481720" y="566776"/>
                  </a:lnTo>
                  <a:lnTo>
                    <a:pt x="474338" y="563090"/>
                  </a:lnTo>
                  <a:lnTo>
                    <a:pt x="481720" y="552012"/>
                  </a:lnTo>
                  <a:lnTo>
                    <a:pt x="485406" y="552012"/>
                  </a:lnTo>
                  <a:lnTo>
                    <a:pt x="485406" y="555708"/>
                  </a:lnTo>
                  <a:lnTo>
                    <a:pt x="492788" y="555708"/>
                  </a:lnTo>
                  <a:lnTo>
                    <a:pt x="496474" y="555708"/>
                  </a:lnTo>
                  <a:lnTo>
                    <a:pt x="503856" y="552012"/>
                  </a:lnTo>
                  <a:lnTo>
                    <a:pt x="507542" y="552012"/>
                  </a:lnTo>
                  <a:lnTo>
                    <a:pt x="511228" y="548326"/>
                  </a:lnTo>
                  <a:lnTo>
                    <a:pt x="514924" y="544630"/>
                  </a:lnTo>
                  <a:lnTo>
                    <a:pt x="518610" y="548326"/>
                  </a:lnTo>
                  <a:lnTo>
                    <a:pt x="522296" y="544630"/>
                  </a:lnTo>
                  <a:lnTo>
                    <a:pt x="525982" y="540944"/>
                  </a:lnTo>
                  <a:lnTo>
                    <a:pt x="529678" y="540944"/>
                  </a:lnTo>
                  <a:lnTo>
                    <a:pt x="525982" y="537248"/>
                  </a:lnTo>
                  <a:lnTo>
                    <a:pt x="529678" y="533562"/>
                  </a:lnTo>
                  <a:lnTo>
                    <a:pt x="533364" y="529876"/>
                  </a:lnTo>
                  <a:lnTo>
                    <a:pt x="537050" y="533562"/>
                  </a:lnTo>
                  <a:lnTo>
                    <a:pt x="544432" y="540944"/>
                  </a:lnTo>
                  <a:lnTo>
                    <a:pt x="548118" y="540944"/>
                  </a:lnTo>
                  <a:lnTo>
                    <a:pt x="551814" y="540944"/>
                  </a:lnTo>
                  <a:lnTo>
                    <a:pt x="566568" y="544630"/>
                  </a:lnTo>
                  <a:lnTo>
                    <a:pt x="577636" y="544630"/>
                  </a:lnTo>
                  <a:lnTo>
                    <a:pt x="581323" y="548326"/>
                  </a:lnTo>
                  <a:lnTo>
                    <a:pt x="581323" y="540944"/>
                  </a:lnTo>
                  <a:lnTo>
                    <a:pt x="581323" y="537248"/>
                  </a:lnTo>
                  <a:lnTo>
                    <a:pt x="581323" y="533562"/>
                  </a:lnTo>
                  <a:lnTo>
                    <a:pt x="581323" y="529876"/>
                  </a:lnTo>
                  <a:lnTo>
                    <a:pt x="573950" y="526180"/>
                  </a:lnTo>
                  <a:lnTo>
                    <a:pt x="570254" y="526180"/>
                  </a:lnTo>
                  <a:lnTo>
                    <a:pt x="570254" y="522494"/>
                  </a:lnTo>
                  <a:lnTo>
                    <a:pt x="570254" y="518799"/>
                  </a:lnTo>
                  <a:lnTo>
                    <a:pt x="566568" y="511417"/>
                  </a:lnTo>
                  <a:lnTo>
                    <a:pt x="562882" y="507730"/>
                  </a:lnTo>
                  <a:lnTo>
                    <a:pt x="555500" y="507730"/>
                  </a:lnTo>
                  <a:lnTo>
                    <a:pt x="551814" y="507730"/>
                  </a:lnTo>
                  <a:lnTo>
                    <a:pt x="555500" y="504035"/>
                  </a:lnTo>
                  <a:lnTo>
                    <a:pt x="555500" y="500349"/>
                  </a:lnTo>
                  <a:lnTo>
                    <a:pt x="559186" y="500349"/>
                  </a:lnTo>
                  <a:lnTo>
                    <a:pt x="562882" y="504035"/>
                  </a:lnTo>
                  <a:lnTo>
                    <a:pt x="577636" y="496653"/>
                  </a:lnTo>
                  <a:lnTo>
                    <a:pt x="581323" y="500349"/>
                  </a:lnTo>
                  <a:lnTo>
                    <a:pt x="585009" y="500349"/>
                  </a:lnTo>
                  <a:lnTo>
                    <a:pt x="588704" y="504035"/>
                  </a:lnTo>
                  <a:lnTo>
                    <a:pt x="596077" y="507730"/>
                  </a:lnTo>
                  <a:lnTo>
                    <a:pt x="596077" y="511417"/>
                  </a:lnTo>
                  <a:lnTo>
                    <a:pt x="588704" y="511417"/>
                  </a:lnTo>
                  <a:lnTo>
                    <a:pt x="592391" y="515112"/>
                  </a:lnTo>
                  <a:lnTo>
                    <a:pt x="596077" y="518799"/>
                  </a:lnTo>
                  <a:lnTo>
                    <a:pt x="599772" y="522494"/>
                  </a:lnTo>
                  <a:lnTo>
                    <a:pt x="607145" y="526180"/>
                  </a:lnTo>
                  <a:lnTo>
                    <a:pt x="614527" y="526180"/>
                  </a:lnTo>
                  <a:lnTo>
                    <a:pt x="614527" y="522494"/>
                  </a:lnTo>
                  <a:lnTo>
                    <a:pt x="621909" y="522494"/>
                  </a:lnTo>
                  <a:lnTo>
                    <a:pt x="625595" y="526180"/>
                  </a:lnTo>
                  <a:lnTo>
                    <a:pt x="629281" y="526180"/>
                  </a:lnTo>
                  <a:lnTo>
                    <a:pt x="629281" y="522494"/>
                  </a:lnTo>
                  <a:lnTo>
                    <a:pt x="632977" y="522494"/>
                  </a:lnTo>
                  <a:lnTo>
                    <a:pt x="632977" y="518799"/>
                  </a:lnTo>
                  <a:lnTo>
                    <a:pt x="636663" y="522494"/>
                  </a:lnTo>
                  <a:lnTo>
                    <a:pt x="647731" y="526180"/>
                  </a:lnTo>
                  <a:lnTo>
                    <a:pt x="647731" y="529876"/>
                  </a:lnTo>
                  <a:lnTo>
                    <a:pt x="651417" y="537248"/>
                  </a:lnTo>
                  <a:lnTo>
                    <a:pt x="651417" y="540944"/>
                  </a:lnTo>
                  <a:lnTo>
                    <a:pt x="658799" y="537248"/>
                  </a:lnTo>
                  <a:lnTo>
                    <a:pt x="666171" y="537248"/>
                  </a:lnTo>
                  <a:lnTo>
                    <a:pt x="669867" y="537248"/>
                  </a:lnTo>
                  <a:lnTo>
                    <a:pt x="673553" y="540944"/>
                  </a:lnTo>
                  <a:lnTo>
                    <a:pt x="677239" y="540944"/>
                  </a:lnTo>
                  <a:lnTo>
                    <a:pt x="680935" y="544630"/>
                  </a:lnTo>
                  <a:lnTo>
                    <a:pt x="680935" y="548326"/>
                  </a:lnTo>
                  <a:lnTo>
                    <a:pt x="680935" y="552012"/>
                  </a:lnTo>
                  <a:lnTo>
                    <a:pt x="684621" y="552012"/>
                  </a:lnTo>
                  <a:lnTo>
                    <a:pt x="688307" y="552012"/>
                  </a:lnTo>
                  <a:lnTo>
                    <a:pt x="692003" y="552012"/>
                  </a:lnTo>
                  <a:lnTo>
                    <a:pt x="699375" y="555708"/>
                  </a:lnTo>
                  <a:lnTo>
                    <a:pt x="703071" y="555708"/>
                  </a:lnTo>
                  <a:lnTo>
                    <a:pt x="699375" y="548326"/>
                  </a:lnTo>
                  <a:lnTo>
                    <a:pt x="703071" y="552012"/>
                  </a:lnTo>
                  <a:lnTo>
                    <a:pt x="699375" y="544630"/>
                  </a:lnTo>
                  <a:lnTo>
                    <a:pt x="699375" y="540944"/>
                  </a:lnTo>
                  <a:lnTo>
                    <a:pt x="703071" y="537248"/>
                  </a:lnTo>
                  <a:lnTo>
                    <a:pt x="699375" y="537248"/>
                  </a:lnTo>
                  <a:lnTo>
                    <a:pt x="699375" y="533562"/>
                  </a:lnTo>
                  <a:lnTo>
                    <a:pt x="695689" y="533562"/>
                  </a:lnTo>
                  <a:lnTo>
                    <a:pt x="692003" y="529876"/>
                  </a:lnTo>
                  <a:lnTo>
                    <a:pt x="692003" y="526180"/>
                  </a:lnTo>
                  <a:lnTo>
                    <a:pt x="692003" y="518799"/>
                  </a:lnTo>
                  <a:lnTo>
                    <a:pt x="699375" y="522494"/>
                  </a:lnTo>
                  <a:lnTo>
                    <a:pt x="703071" y="522494"/>
                  </a:lnTo>
                  <a:lnTo>
                    <a:pt x="706757" y="526180"/>
                  </a:lnTo>
                  <a:lnTo>
                    <a:pt x="710443" y="526180"/>
                  </a:lnTo>
                  <a:lnTo>
                    <a:pt x="710443" y="529876"/>
                  </a:lnTo>
                  <a:lnTo>
                    <a:pt x="714139" y="529876"/>
                  </a:lnTo>
                  <a:lnTo>
                    <a:pt x="717825" y="529876"/>
                  </a:lnTo>
                  <a:lnTo>
                    <a:pt x="721512" y="526180"/>
                  </a:lnTo>
                  <a:lnTo>
                    <a:pt x="725207" y="533562"/>
                  </a:lnTo>
                  <a:lnTo>
                    <a:pt x="728893" y="533562"/>
                  </a:lnTo>
                  <a:lnTo>
                    <a:pt x="732580" y="537248"/>
                  </a:lnTo>
                  <a:lnTo>
                    <a:pt x="736266" y="533562"/>
                  </a:lnTo>
                  <a:lnTo>
                    <a:pt x="747334" y="529876"/>
                  </a:lnTo>
                  <a:lnTo>
                    <a:pt x="747334" y="526180"/>
                  </a:lnTo>
                  <a:lnTo>
                    <a:pt x="747334" y="522494"/>
                  </a:lnTo>
                  <a:lnTo>
                    <a:pt x="751029" y="522494"/>
                  </a:lnTo>
                  <a:lnTo>
                    <a:pt x="754716" y="518799"/>
                  </a:lnTo>
                  <a:lnTo>
                    <a:pt x="758402" y="518799"/>
                  </a:lnTo>
                  <a:lnTo>
                    <a:pt x="762098" y="518799"/>
                  </a:lnTo>
                  <a:lnTo>
                    <a:pt x="765784" y="515112"/>
                  </a:lnTo>
                  <a:lnTo>
                    <a:pt x="765784" y="511417"/>
                  </a:lnTo>
                  <a:lnTo>
                    <a:pt x="769470" y="511417"/>
                  </a:lnTo>
                  <a:lnTo>
                    <a:pt x="773166" y="507730"/>
                  </a:lnTo>
                  <a:lnTo>
                    <a:pt x="773166" y="511417"/>
                  </a:lnTo>
                  <a:lnTo>
                    <a:pt x="776852" y="511417"/>
                  </a:lnTo>
                  <a:lnTo>
                    <a:pt x="780538" y="507730"/>
                  </a:lnTo>
                  <a:lnTo>
                    <a:pt x="787920" y="504035"/>
                  </a:lnTo>
                  <a:lnTo>
                    <a:pt x="806360" y="496653"/>
                  </a:lnTo>
                  <a:lnTo>
                    <a:pt x="810056" y="496653"/>
                  </a:lnTo>
                  <a:lnTo>
                    <a:pt x="813742" y="496653"/>
                  </a:lnTo>
                  <a:lnTo>
                    <a:pt x="813742" y="492967"/>
                  </a:lnTo>
                  <a:lnTo>
                    <a:pt x="821124" y="489271"/>
                  </a:lnTo>
                  <a:lnTo>
                    <a:pt x="828496" y="485585"/>
                  </a:lnTo>
                  <a:lnTo>
                    <a:pt x="832192" y="485585"/>
                  </a:lnTo>
                  <a:lnTo>
                    <a:pt x="835878" y="481899"/>
                  </a:lnTo>
                  <a:lnTo>
                    <a:pt x="835878" y="485585"/>
                  </a:lnTo>
                  <a:lnTo>
                    <a:pt x="839564" y="485585"/>
                  </a:lnTo>
                  <a:lnTo>
                    <a:pt x="843260" y="485585"/>
                  </a:lnTo>
                  <a:lnTo>
                    <a:pt x="843260" y="489271"/>
                  </a:lnTo>
                  <a:lnTo>
                    <a:pt x="846946" y="492967"/>
                  </a:lnTo>
                  <a:lnTo>
                    <a:pt x="854328" y="500349"/>
                  </a:lnTo>
                  <a:lnTo>
                    <a:pt x="861700" y="496653"/>
                  </a:lnTo>
                  <a:lnTo>
                    <a:pt x="861700" y="492967"/>
                  </a:lnTo>
                  <a:lnTo>
                    <a:pt x="865396" y="492967"/>
                  </a:lnTo>
                  <a:lnTo>
                    <a:pt x="869082" y="489271"/>
                  </a:lnTo>
                  <a:lnTo>
                    <a:pt x="872769" y="489271"/>
                  </a:lnTo>
                  <a:lnTo>
                    <a:pt x="872769" y="485585"/>
                  </a:lnTo>
                  <a:lnTo>
                    <a:pt x="876455" y="481899"/>
                  </a:lnTo>
                  <a:lnTo>
                    <a:pt x="880150" y="481899"/>
                  </a:lnTo>
                  <a:lnTo>
                    <a:pt x="887523" y="470821"/>
                  </a:lnTo>
                  <a:lnTo>
                    <a:pt x="891218" y="467135"/>
                  </a:lnTo>
                  <a:lnTo>
                    <a:pt x="891218" y="463439"/>
                  </a:lnTo>
                  <a:lnTo>
                    <a:pt x="891218" y="459753"/>
                  </a:lnTo>
                  <a:lnTo>
                    <a:pt x="891218" y="448676"/>
                  </a:lnTo>
                  <a:lnTo>
                    <a:pt x="898591" y="444989"/>
                  </a:lnTo>
                  <a:lnTo>
                    <a:pt x="905973" y="444989"/>
                  </a:lnTo>
                  <a:lnTo>
                    <a:pt x="909659" y="437607"/>
                  </a:lnTo>
                  <a:lnTo>
                    <a:pt x="905973" y="433921"/>
                  </a:lnTo>
                  <a:lnTo>
                    <a:pt x="905973" y="426539"/>
                  </a:lnTo>
                  <a:lnTo>
                    <a:pt x="905973" y="422844"/>
                  </a:lnTo>
                  <a:lnTo>
                    <a:pt x="894905" y="419158"/>
                  </a:lnTo>
                  <a:lnTo>
                    <a:pt x="898591" y="419158"/>
                  </a:lnTo>
                  <a:lnTo>
                    <a:pt x="876455" y="404394"/>
                  </a:lnTo>
                  <a:lnTo>
                    <a:pt x="872769" y="400698"/>
                  </a:lnTo>
                  <a:lnTo>
                    <a:pt x="869082" y="393316"/>
                  </a:lnTo>
                  <a:lnTo>
                    <a:pt x="850632" y="385944"/>
                  </a:lnTo>
                  <a:lnTo>
                    <a:pt x="835878" y="385944"/>
                  </a:lnTo>
                  <a:lnTo>
                    <a:pt x="835878" y="382248"/>
                  </a:lnTo>
                  <a:lnTo>
                    <a:pt x="835878" y="374866"/>
                  </a:lnTo>
                  <a:lnTo>
                    <a:pt x="835878" y="371180"/>
                  </a:lnTo>
                  <a:lnTo>
                    <a:pt x="839564" y="367484"/>
                  </a:lnTo>
                  <a:lnTo>
                    <a:pt x="839564" y="363798"/>
                  </a:lnTo>
                  <a:lnTo>
                    <a:pt x="839564" y="360103"/>
                  </a:lnTo>
                  <a:lnTo>
                    <a:pt x="850632" y="360103"/>
                  </a:lnTo>
                  <a:lnTo>
                    <a:pt x="858014" y="356416"/>
                  </a:lnTo>
                  <a:lnTo>
                    <a:pt x="865396" y="352721"/>
                  </a:lnTo>
                  <a:lnTo>
                    <a:pt x="865396" y="349035"/>
                  </a:lnTo>
                  <a:lnTo>
                    <a:pt x="865396" y="345339"/>
                  </a:lnTo>
                  <a:lnTo>
                    <a:pt x="865396" y="341653"/>
                  </a:lnTo>
                  <a:lnTo>
                    <a:pt x="869082" y="341653"/>
                  </a:lnTo>
                  <a:lnTo>
                    <a:pt x="869082" y="337966"/>
                  </a:lnTo>
                  <a:lnTo>
                    <a:pt x="872769" y="323203"/>
                  </a:lnTo>
                  <a:lnTo>
                    <a:pt x="850632" y="323203"/>
                  </a:lnTo>
                  <a:lnTo>
                    <a:pt x="846946" y="323203"/>
                  </a:lnTo>
                  <a:lnTo>
                    <a:pt x="839564" y="319507"/>
                  </a:lnTo>
                  <a:lnTo>
                    <a:pt x="832192" y="315821"/>
                  </a:lnTo>
                  <a:lnTo>
                    <a:pt x="828496" y="315821"/>
                  </a:lnTo>
                  <a:lnTo>
                    <a:pt x="821124" y="315821"/>
                  </a:lnTo>
                  <a:lnTo>
                    <a:pt x="828496" y="304743"/>
                  </a:lnTo>
                  <a:lnTo>
                    <a:pt x="828496" y="293675"/>
                  </a:lnTo>
                  <a:lnTo>
                    <a:pt x="828496" y="289989"/>
                  </a:lnTo>
                  <a:lnTo>
                    <a:pt x="828496" y="286293"/>
                  </a:lnTo>
                  <a:lnTo>
                    <a:pt x="817428" y="278911"/>
                  </a:lnTo>
                  <a:lnTo>
                    <a:pt x="813742" y="278911"/>
                  </a:lnTo>
                  <a:lnTo>
                    <a:pt x="810056" y="286293"/>
                  </a:lnTo>
                  <a:lnTo>
                    <a:pt x="810056" y="282607"/>
                  </a:lnTo>
                  <a:lnTo>
                    <a:pt x="806360" y="278911"/>
                  </a:lnTo>
                  <a:lnTo>
                    <a:pt x="802674" y="282607"/>
                  </a:lnTo>
                  <a:lnTo>
                    <a:pt x="798988" y="286293"/>
                  </a:lnTo>
                  <a:lnTo>
                    <a:pt x="798988" y="289989"/>
                  </a:lnTo>
                  <a:lnTo>
                    <a:pt x="795302" y="286293"/>
                  </a:lnTo>
                  <a:lnTo>
                    <a:pt x="791606" y="282607"/>
                  </a:lnTo>
                  <a:lnTo>
                    <a:pt x="795302" y="278911"/>
                  </a:lnTo>
                  <a:lnTo>
                    <a:pt x="787920" y="275225"/>
                  </a:lnTo>
                  <a:lnTo>
                    <a:pt x="784234" y="275225"/>
                  </a:lnTo>
                  <a:lnTo>
                    <a:pt x="769470" y="278911"/>
                  </a:lnTo>
                  <a:lnTo>
                    <a:pt x="751029" y="275225"/>
                  </a:lnTo>
                  <a:lnTo>
                    <a:pt x="747334" y="275225"/>
                  </a:lnTo>
                  <a:lnTo>
                    <a:pt x="739961" y="278911"/>
                  </a:lnTo>
                  <a:lnTo>
                    <a:pt x="736266" y="275225"/>
                  </a:lnTo>
                  <a:lnTo>
                    <a:pt x="732580" y="275225"/>
                  </a:lnTo>
                  <a:lnTo>
                    <a:pt x="732580" y="271530"/>
                  </a:lnTo>
                  <a:lnTo>
                    <a:pt x="728893" y="267843"/>
                  </a:lnTo>
                  <a:lnTo>
                    <a:pt x="728893" y="260461"/>
                  </a:lnTo>
                  <a:lnTo>
                    <a:pt x="721512" y="260461"/>
                  </a:lnTo>
                  <a:lnTo>
                    <a:pt x="721512" y="256766"/>
                  </a:lnTo>
                  <a:lnTo>
                    <a:pt x="717825" y="256766"/>
                  </a:lnTo>
                  <a:lnTo>
                    <a:pt x="717825" y="249384"/>
                  </a:lnTo>
                  <a:lnTo>
                    <a:pt x="706757" y="242012"/>
                  </a:lnTo>
                  <a:lnTo>
                    <a:pt x="703071" y="234630"/>
                  </a:lnTo>
                  <a:lnTo>
                    <a:pt x="703071" y="230934"/>
                  </a:lnTo>
                  <a:lnTo>
                    <a:pt x="703071" y="227248"/>
                  </a:lnTo>
                  <a:lnTo>
                    <a:pt x="699375" y="227248"/>
                  </a:lnTo>
                  <a:lnTo>
                    <a:pt x="692003" y="227248"/>
                  </a:lnTo>
                  <a:lnTo>
                    <a:pt x="688307" y="227248"/>
                  </a:lnTo>
                  <a:lnTo>
                    <a:pt x="684621" y="227248"/>
                  </a:lnTo>
                  <a:lnTo>
                    <a:pt x="684621" y="223552"/>
                  </a:lnTo>
                  <a:lnTo>
                    <a:pt x="680935" y="227248"/>
                  </a:lnTo>
                  <a:lnTo>
                    <a:pt x="677239" y="227248"/>
                  </a:lnTo>
                  <a:lnTo>
                    <a:pt x="669867" y="227248"/>
                  </a:lnTo>
                  <a:lnTo>
                    <a:pt x="666171" y="230934"/>
                  </a:lnTo>
                  <a:lnTo>
                    <a:pt x="662485" y="230934"/>
                  </a:lnTo>
                  <a:lnTo>
                    <a:pt x="662485" y="238316"/>
                  </a:lnTo>
                  <a:lnTo>
                    <a:pt x="655113" y="238316"/>
                  </a:lnTo>
                  <a:lnTo>
                    <a:pt x="655113" y="242012"/>
                  </a:lnTo>
                  <a:lnTo>
                    <a:pt x="644045" y="242012"/>
                  </a:lnTo>
                  <a:lnTo>
                    <a:pt x="644045" y="238316"/>
                  </a:lnTo>
                  <a:lnTo>
                    <a:pt x="640349" y="238316"/>
                  </a:lnTo>
                  <a:lnTo>
                    <a:pt x="636663" y="238316"/>
                  </a:lnTo>
                  <a:lnTo>
                    <a:pt x="632977" y="238316"/>
                  </a:lnTo>
                  <a:lnTo>
                    <a:pt x="629281" y="242012"/>
                  </a:lnTo>
                  <a:lnTo>
                    <a:pt x="625595" y="238316"/>
                  </a:lnTo>
                  <a:lnTo>
                    <a:pt x="621909" y="238316"/>
                  </a:lnTo>
                  <a:lnTo>
                    <a:pt x="614527" y="238316"/>
                  </a:lnTo>
                  <a:lnTo>
                    <a:pt x="610840" y="238316"/>
                  </a:lnTo>
                  <a:lnTo>
                    <a:pt x="607145" y="238316"/>
                  </a:lnTo>
                  <a:lnTo>
                    <a:pt x="603459" y="238316"/>
                  </a:lnTo>
                  <a:lnTo>
                    <a:pt x="603459" y="242012"/>
                  </a:lnTo>
                  <a:lnTo>
                    <a:pt x="599772" y="238316"/>
                  </a:lnTo>
                  <a:lnTo>
                    <a:pt x="596077" y="238316"/>
                  </a:lnTo>
                  <a:lnTo>
                    <a:pt x="588704" y="238316"/>
                  </a:lnTo>
                  <a:lnTo>
                    <a:pt x="588704" y="234630"/>
                  </a:lnTo>
                  <a:lnTo>
                    <a:pt x="585009" y="234630"/>
                  </a:lnTo>
                  <a:lnTo>
                    <a:pt x="577636" y="238316"/>
                  </a:lnTo>
                  <a:lnTo>
                    <a:pt x="577636" y="242012"/>
                  </a:lnTo>
                  <a:lnTo>
                    <a:pt x="581323" y="245698"/>
                  </a:lnTo>
                  <a:lnTo>
                    <a:pt x="577636" y="249384"/>
                  </a:lnTo>
                  <a:lnTo>
                    <a:pt x="577636" y="245698"/>
                  </a:lnTo>
                  <a:lnTo>
                    <a:pt x="577636" y="242012"/>
                  </a:lnTo>
                  <a:lnTo>
                    <a:pt x="573950" y="242012"/>
                  </a:lnTo>
                  <a:lnTo>
                    <a:pt x="570254" y="242012"/>
                  </a:lnTo>
                  <a:lnTo>
                    <a:pt x="566568" y="234630"/>
                  </a:lnTo>
                  <a:lnTo>
                    <a:pt x="566568" y="230934"/>
                  </a:lnTo>
                  <a:lnTo>
                    <a:pt x="570254" y="227248"/>
                  </a:lnTo>
                  <a:lnTo>
                    <a:pt x="573950" y="227248"/>
                  </a:lnTo>
                  <a:lnTo>
                    <a:pt x="573950" y="223552"/>
                  </a:lnTo>
                  <a:lnTo>
                    <a:pt x="570254" y="223552"/>
                  </a:lnTo>
                  <a:lnTo>
                    <a:pt x="566568" y="223552"/>
                  </a:lnTo>
                  <a:lnTo>
                    <a:pt x="562882" y="223552"/>
                  </a:lnTo>
                  <a:lnTo>
                    <a:pt x="559186" y="219866"/>
                  </a:lnTo>
                  <a:lnTo>
                    <a:pt x="559186" y="216170"/>
                  </a:lnTo>
                  <a:lnTo>
                    <a:pt x="559186" y="212484"/>
                  </a:lnTo>
                  <a:lnTo>
                    <a:pt x="559186" y="208788"/>
                  </a:lnTo>
                  <a:lnTo>
                    <a:pt x="555500" y="205102"/>
                  </a:lnTo>
                  <a:lnTo>
                    <a:pt x="551814" y="201407"/>
                  </a:lnTo>
                  <a:lnTo>
                    <a:pt x="551814" y="190338"/>
                  </a:lnTo>
                  <a:lnTo>
                    <a:pt x="548118" y="190338"/>
                  </a:lnTo>
                  <a:lnTo>
                    <a:pt x="548118" y="186652"/>
                  </a:lnTo>
                  <a:lnTo>
                    <a:pt x="548118" y="182957"/>
                  </a:lnTo>
                  <a:lnTo>
                    <a:pt x="544432" y="182957"/>
                  </a:lnTo>
                  <a:lnTo>
                    <a:pt x="540746" y="182957"/>
                  </a:lnTo>
                  <a:lnTo>
                    <a:pt x="537050" y="182957"/>
                  </a:lnTo>
                  <a:lnTo>
                    <a:pt x="537050" y="171889"/>
                  </a:lnTo>
                  <a:lnTo>
                    <a:pt x="537050" y="168193"/>
                  </a:lnTo>
                  <a:lnTo>
                    <a:pt x="533364" y="168193"/>
                  </a:lnTo>
                  <a:lnTo>
                    <a:pt x="529678" y="168193"/>
                  </a:lnTo>
                  <a:lnTo>
                    <a:pt x="529678" y="164507"/>
                  </a:lnTo>
                  <a:lnTo>
                    <a:pt x="533364" y="164507"/>
                  </a:lnTo>
                  <a:lnTo>
                    <a:pt x="533364" y="157125"/>
                  </a:lnTo>
                  <a:lnTo>
                    <a:pt x="533364" y="149743"/>
                  </a:lnTo>
                  <a:lnTo>
                    <a:pt x="533364" y="142361"/>
                  </a:lnTo>
                  <a:lnTo>
                    <a:pt x="537050" y="142361"/>
                  </a:lnTo>
                  <a:lnTo>
                    <a:pt x="540746" y="138675"/>
                  </a:lnTo>
                  <a:lnTo>
                    <a:pt x="544432" y="138675"/>
                  </a:lnTo>
                  <a:lnTo>
                    <a:pt x="540746" y="134979"/>
                  </a:lnTo>
                  <a:lnTo>
                    <a:pt x="537050" y="134979"/>
                  </a:lnTo>
                  <a:lnTo>
                    <a:pt x="533364" y="131293"/>
                  </a:lnTo>
                  <a:lnTo>
                    <a:pt x="533364" y="127597"/>
                  </a:lnTo>
                  <a:lnTo>
                    <a:pt x="537050" y="127597"/>
                  </a:lnTo>
                  <a:lnTo>
                    <a:pt x="537050" y="123909"/>
                  </a:lnTo>
                  <a:lnTo>
                    <a:pt x="544432" y="123909"/>
                  </a:lnTo>
                  <a:lnTo>
                    <a:pt x="551814" y="120218"/>
                  </a:lnTo>
                  <a:lnTo>
                    <a:pt x="555500" y="120218"/>
                  </a:lnTo>
                  <a:lnTo>
                    <a:pt x="555500" y="116528"/>
                  </a:lnTo>
                  <a:lnTo>
                    <a:pt x="559186" y="116528"/>
                  </a:lnTo>
                  <a:lnTo>
                    <a:pt x="559186" y="109147"/>
                  </a:lnTo>
                  <a:lnTo>
                    <a:pt x="559186" y="105456"/>
                  </a:lnTo>
                  <a:lnTo>
                    <a:pt x="559186" y="101766"/>
                  </a:lnTo>
                  <a:lnTo>
                    <a:pt x="555500" y="101766"/>
                  </a:lnTo>
                  <a:lnTo>
                    <a:pt x="551814" y="98075"/>
                  </a:lnTo>
                  <a:lnTo>
                    <a:pt x="551814" y="90695"/>
                  </a:lnTo>
                  <a:lnTo>
                    <a:pt x="551814" y="87004"/>
                  </a:lnTo>
                  <a:lnTo>
                    <a:pt x="555500" y="83313"/>
                  </a:lnTo>
                  <a:lnTo>
                    <a:pt x="555500" y="75932"/>
                  </a:lnTo>
                  <a:lnTo>
                    <a:pt x="551814" y="72242"/>
                  </a:lnTo>
                  <a:lnTo>
                    <a:pt x="548118" y="68551"/>
                  </a:lnTo>
                  <a:lnTo>
                    <a:pt x="548118" y="61170"/>
                  </a:lnTo>
                  <a:lnTo>
                    <a:pt x="544432" y="50098"/>
                  </a:lnTo>
                  <a:lnTo>
                    <a:pt x="544432" y="46407"/>
                  </a:lnTo>
                  <a:lnTo>
                    <a:pt x="540746" y="42717"/>
                  </a:lnTo>
                  <a:lnTo>
                    <a:pt x="529678" y="39026"/>
                  </a:lnTo>
                  <a:lnTo>
                    <a:pt x="525982" y="35335"/>
                  </a:lnTo>
                  <a:lnTo>
                    <a:pt x="525982" y="31645"/>
                  </a:lnTo>
                  <a:lnTo>
                    <a:pt x="525982" y="27954"/>
                  </a:lnTo>
                  <a:lnTo>
                    <a:pt x="522296" y="24264"/>
                  </a:lnTo>
                  <a:lnTo>
                    <a:pt x="518610" y="20573"/>
                  </a:lnTo>
                  <a:lnTo>
                    <a:pt x="514924" y="20573"/>
                  </a:lnTo>
                  <a:lnTo>
                    <a:pt x="511228" y="16882"/>
                  </a:lnTo>
                  <a:lnTo>
                    <a:pt x="507542" y="20573"/>
                  </a:lnTo>
                  <a:lnTo>
                    <a:pt x="503856" y="20573"/>
                  </a:lnTo>
                  <a:lnTo>
                    <a:pt x="500160" y="20573"/>
                  </a:lnTo>
                  <a:lnTo>
                    <a:pt x="496474" y="24264"/>
                  </a:lnTo>
                  <a:lnTo>
                    <a:pt x="489092" y="31645"/>
                  </a:lnTo>
                  <a:lnTo>
                    <a:pt x="481720" y="39026"/>
                  </a:lnTo>
                  <a:lnTo>
                    <a:pt x="478024" y="42717"/>
                  </a:lnTo>
                  <a:lnTo>
                    <a:pt x="474338" y="39026"/>
                  </a:lnTo>
                  <a:lnTo>
                    <a:pt x="474338" y="35335"/>
                  </a:lnTo>
                  <a:lnTo>
                    <a:pt x="470652" y="39026"/>
                  </a:lnTo>
                  <a:lnTo>
                    <a:pt x="466956" y="42717"/>
                  </a:lnTo>
                  <a:lnTo>
                    <a:pt x="459583" y="46407"/>
                  </a:lnTo>
                  <a:lnTo>
                    <a:pt x="459583" y="39026"/>
                  </a:lnTo>
                  <a:lnTo>
                    <a:pt x="452202" y="27954"/>
                  </a:lnTo>
                  <a:lnTo>
                    <a:pt x="448516" y="20573"/>
                  </a:lnTo>
                  <a:lnTo>
                    <a:pt x="441134" y="9502"/>
                  </a:lnTo>
                  <a:lnTo>
                    <a:pt x="437447" y="5812"/>
                  </a:lnTo>
                  <a:close/>
                  <a:moveTo>
                    <a:pt x="315699" y="138675"/>
                  </a:moveTo>
                  <a:lnTo>
                    <a:pt x="308326" y="134979"/>
                  </a:lnTo>
                  <a:lnTo>
                    <a:pt x="312013" y="138675"/>
                  </a:lnTo>
                  <a:lnTo>
                    <a:pt x="315699" y="138675"/>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12" name="Google Shape;404;p2">
              <a:extLst>
                <a:ext uri="{FF2B5EF4-FFF2-40B4-BE49-F238E27FC236}">
                  <a16:creationId xmlns:a16="http://schemas.microsoft.com/office/drawing/2014/main" id="{83137ABF-2ABA-4CC4-9A38-5B3DBBD2AF7D}"/>
                </a:ext>
              </a:extLst>
            </p:cNvPr>
            <p:cNvSpPr/>
            <p:nvPr/>
          </p:nvSpPr>
          <p:spPr>
            <a:xfrm>
              <a:off x="2679334" y="3344401"/>
              <a:ext cx="953038" cy="671460"/>
            </a:xfrm>
            <a:custGeom>
              <a:avLst/>
              <a:gdLst/>
              <a:ahLst/>
              <a:cxnLst/>
              <a:rect l="l" t="t" r="r" b="b"/>
              <a:pathLst>
                <a:path w="419100" h="295275" extrusionOk="0">
                  <a:moveTo>
                    <a:pt x="112797" y="5812"/>
                  </a:moveTo>
                  <a:lnTo>
                    <a:pt x="112797" y="9507"/>
                  </a:lnTo>
                  <a:lnTo>
                    <a:pt x="109108" y="9507"/>
                  </a:lnTo>
                  <a:lnTo>
                    <a:pt x="109108" y="13193"/>
                  </a:lnTo>
                  <a:lnTo>
                    <a:pt x="109108" y="16889"/>
                  </a:lnTo>
                  <a:lnTo>
                    <a:pt x="101730" y="13193"/>
                  </a:lnTo>
                  <a:lnTo>
                    <a:pt x="101730" y="16889"/>
                  </a:lnTo>
                  <a:lnTo>
                    <a:pt x="94351" y="20575"/>
                  </a:lnTo>
                  <a:lnTo>
                    <a:pt x="94351" y="24262"/>
                  </a:lnTo>
                  <a:lnTo>
                    <a:pt x="90662" y="24262"/>
                  </a:lnTo>
                  <a:lnTo>
                    <a:pt x="86973" y="24262"/>
                  </a:lnTo>
                  <a:lnTo>
                    <a:pt x="83284" y="24262"/>
                  </a:lnTo>
                  <a:lnTo>
                    <a:pt x="75906" y="20575"/>
                  </a:lnTo>
                  <a:lnTo>
                    <a:pt x="72217" y="24262"/>
                  </a:lnTo>
                  <a:lnTo>
                    <a:pt x="72217" y="27957"/>
                  </a:lnTo>
                  <a:lnTo>
                    <a:pt x="75906" y="31643"/>
                  </a:lnTo>
                  <a:lnTo>
                    <a:pt x="72217" y="35339"/>
                  </a:lnTo>
                  <a:lnTo>
                    <a:pt x="68527" y="39025"/>
                  </a:lnTo>
                  <a:lnTo>
                    <a:pt x="68527" y="42721"/>
                  </a:lnTo>
                  <a:lnTo>
                    <a:pt x="64838" y="42721"/>
                  </a:lnTo>
                  <a:lnTo>
                    <a:pt x="61149" y="42721"/>
                  </a:lnTo>
                  <a:lnTo>
                    <a:pt x="61149" y="46407"/>
                  </a:lnTo>
                  <a:lnTo>
                    <a:pt x="57460" y="42721"/>
                  </a:lnTo>
                  <a:lnTo>
                    <a:pt x="53771" y="42721"/>
                  </a:lnTo>
                  <a:lnTo>
                    <a:pt x="50082" y="42721"/>
                  </a:lnTo>
                  <a:lnTo>
                    <a:pt x="46393" y="46407"/>
                  </a:lnTo>
                  <a:lnTo>
                    <a:pt x="39014" y="50103"/>
                  </a:lnTo>
                  <a:lnTo>
                    <a:pt x="39014" y="53789"/>
                  </a:lnTo>
                  <a:lnTo>
                    <a:pt x="35325" y="53789"/>
                  </a:lnTo>
                  <a:lnTo>
                    <a:pt x="31636" y="57485"/>
                  </a:lnTo>
                  <a:lnTo>
                    <a:pt x="27947" y="57485"/>
                  </a:lnTo>
                  <a:lnTo>
                    <a:pt x="27947" y="61171"/>
                  </a:lnTo>
                  <a:lnTo>
                    <a:pt x="24257" y="61171"/>
                  </a:lnTo>
                  <a:lnTo>
                    <a:pt x="20568" y="64867"/>
                  </a:lnTo>
                  <a:lnTo>
                    <a:pt x="16879" y="64867"/>
                  </a:lnTo>
                  <a:lnTo>
                    <a:pt x="13190" y="64867"/>
                  </a:lnTo>
                  <a:lnTo>
                    <a:pt x="9501" y="64867"/>
                  </a:lnTo>
                  <a:lnTo>
                    <a:pt x="9501" y="68553"/>
                  </a:lnTo>
                  <a:lnTo>
                    <a:pt x="13190" y="72239"/>
                  </a:lnTo>
                  <a:lnTo>
                    <a:pt x="13190" y="79621"/>
                  </a:lnTo>
                  <a:lnTo>
                    <a:pt x="13190" y="83316"/>
                  </a:lnTo>
                  <a:lnTo>
                    <a:pt x="16879" y="83316"/>
                  </a:lnTo>
                  <a:lnTo>
                    <a:pt x="16879" y="87003"/>
                  </a:lnTo>
                  <a:lnTo>
                    <a:pt x="20568" y="90698"/>
                  </a:lnTo>
                  <a:lnTo>
                    <a:pt x="24257" y="90698"/>
                  </a:lnTo>
                  <a:lnTo>
                    <a:pt x="24257" y="94385"/>
                  </a:lnTo>
                  <a:lnTo>
                    <a:pt x="27947" y="98080"/>
                  </a:lnTo>
                  <a:lnTo>
                    <a:pt x="31636" y="101766"/>
                  </a:lnTo>
                  <a:lnTo>
                    <a:pt x="39014" y="101766"/>
                  </a:lnTo>
                  <a:lnTo>
                    <a:pt x="42703" y="105462"/>
                  </a:lnTo>
                  <a:lnTo>
                    <a:pt x="57460" y="116530"/>
                  </a:lnTo>
                  <a:lnTo>
                    <a:pt x="46393" y="120216"/>
                  </a:lnTo>
                  <a:lnTo>
                    <a:pt x="46393" y="134980"/>
                  </a:lnTo>
                  <a:lnTo>
                    <a:pt x="42703" y="134980"/>
                  </a:lnTo>
                  <a:lnTo>
                    <a:pt x="39014" y="134980"/>
                  </a:lnTo>
                  <a:lnTo>
                    <a:pt x="31636" y="134980"/>
                  </a:lnTo>
                  <a:lnTo>
                    <a:pt x="27947" y="134980"/>
                  </a:lnTo>
                  <a:lnTo>
                    <a:pt x="27947" y="131294"/>
                  </a:lnTo>
                  <a:lnTo>
                    <a:pt x="20568" y="131294"/>
                  </a:lnTo>
                  <a:lnTo>
                    <a:pt x="16879" y="134980"/>
                  </a:lnTo>
                  <a:lnTo>
                    <a:pt x="13190" y="138676"/>
                  </a:lnTo>
                  <a:lnTo>
                    <a:pt x="16879" y="138676"/>
                  </a:lnTo>
                  <a:lnTo>
                    <a:pt x="13190" y="142362"/>
                  </a:lnTo>
                  <a:lnTo>
                    <a:pt x="13190" y="146058"/>
                  </a:lnTo>
                  <a:lnTo>
                    <a:pt x="9501" y="146058"/>
                  </a:lnTo>
                  <a:lnTo>
                    <a:pt x="5812" y="146058"/>
                  </a:lnTo>
                  <a:lnTo>
                    <a:pt x="5812" y="149744"/>
                  </a:lnTo>
                  <a:lnTo>
                    <a:pt x="20568" y="157126"/>
                  </a:lnTo>
                  <a:lnTo>
                    <a:pt x="24257" y="160821"/>
                  </a:lnTo>
                  <a:lnTo>
                    <a:pt x="20568" y="160821"/>
                  </a:lnTo>
                  <a:lnTo>
                    <a:pt x="20568" y="171890"/>
                  </a:lnTo>
                  <a:lnTo>
                    <a:pt x="24257" y="182958"/>
                  </a:lnTo>
                  <a:lnTo>
                    <a:pt x="24257" y="186653"/>
                  </a:lnTo>
                  <a:lnTo>
                    <a:pt x="27947" y="186653"/>
                  </a:lnTo>
                  <a:lnTo>
                    <a:pt x="24257" y="190339"/>
                  </a:lnTo>
                  <a:lnTo>
                    <a:pt x="31636" y="190339"/>
                  </a:lnTo>
                  <a:lnTo>
                    <a:pt x="46393" y="190339"/>
                  </a:lnTo>
                  <a:lnTo>
                    <a:pt x="42703" y="194035"/>
                  </a:lnTo>
                  <a:lnTo>
                    <a:pt x="39014" y="197721"/>
                  </a:lnTo>
                  <a:lnTo>
                    <a:pt x="35325" y="197721"/>
                  </a:lnTo>
                  <a:lnTo>
                    <a:pt x="24257" y="205103"/>
                  </a:lnTo>
                  <a:lnTo>
                    <a:pt x="20568" y="216171"/>
                  </a:lnTo>
                  <a:lnTo>
                    <a:pt x="16879" y="219867"/>
                  </a:lnTo>
                  <a:lnTo>
                    <a:pt x="13190" y="219867"/>
                  </a:lnTo>
                  <a:lnTo>
                    <a:pt x="13190" y="223553"/>
                  </a:lnTo>
                  <a:lnTo>
                    <a:pt x="9501" y="227249"/>
                  </a:lnTo>
                  <a:lnTo>
                    <a:pt x="13190" y="234631"/>
                  </a:lnTo>
                  <a:lnTo>
                    <a:pt x="16879" y="234631"/>
                  </a:lnTo>
                  <a:lnTo>
                    <a:pt x="20568" y="230935"/>
                  </a:lnTo>
                  <a:lnTo>
                    <a:pt x="24257" y="230935"/>
                  </a:lnTo>
                  <a:lnTo>
                    <a:pt x="27947" y="230935"/>
                  </a:lnTo>
                  <a:lnTo>
                    <a:pt x="31636" y="230935"/>
                  </a:lnTo>
                  <a:lnTo>
                    <a:pt x="35325" y="230935"/>
                  </a:lnTo>
                  <a:lnTo>
                    <a:pt x="39014" y="242013"/>
                  </a:lnTo>
                  <a:lnTo>
                    <a:pt x="35325" y="242013"/>
                  </a:lnTo>
                  <a:lnTo>
                    <a:pt x="20568" y="245699"/>
                  </a:lnTo>
                  <a:lnTo>
                    <a:pt x="24257" y="249394"/>
                  </a:lnTo>
                  <a:lnTo>
                    <a:pt x="27947" y="256776"/>
                  </a:lnTo>
                  <a:lnTo>
                    <a:pt x="31636" y="264149"/>
                  </a:lnTo>
                  <a:lnTo>
                    <a:pt x="35325" y="267844"/>
                  </a:lnTo>
                  <a:lnTo>
                    <a:pt x="39014" y="271531"/>
                  </a:lnTo>
                  <a:lnTo>
                    <a:pt x="42703" y="275226"/>
                  </a:lnTo>
                  <a:lnTo>
                    <a:pt x="42703" y="278912"/>
                  </a:lnTo>
                  <a:lnTo>
                    <a:pt x="46393" y="282608"/>
                  </a:lnTo>
                  <a:lnTo>
                    <a:pt x="46393" y="289990"/>
                  </a:lnTo>
                  <a:lnTo>
                    <a:pt x="46393" y="293676"/>
                  </a:lnTo>
                  <a:lnTo>
                    <a:pt x="50082" y="293676"/>
                  </a:lnTo>
                  <a:lnTo>
                    <a:pt x="57460" y="293676"/>
                  </a:lnTo>
                  <a:lnTo>
                    <a:pt x="61149" y="293676"/>
                  </a:lnTo>
                  <a:lnTo>
                    <a:pt x="64838" y="289990"/>
                  </a:lnTo>
                  <a:lnTo>
                    <a:pt x="68527" y="289990"/>
                  </a:lnTo>
                  <a:lnTo>
                    <a:pt x="68527" y="286294"/>
                  </a:lnTo>
                  <a:lnTo>
                    <a:pt x="72217" y="286294"/>
                  </a:lnTo>
                  <a:lnTo>
                    <a:pt x="75906" y="278912"/>
                  </a:lnTo>
                  <a:lnTo>
                    <a:pt x="79595" y="275226"/>
                  </a:lnTo>
                  <a:lnTo>
                    <a:pt x="83284" y="275226"/>
                  </a:lnTo>
                  <a:lnTo>
                    <a:pt x="86973" y="275226"/>
                  </a:lnTo>
                  <a:lnTo>
                    <a:pt x="90662" y="278912"/>
                  </a:lnTo>
                  <a:lnTo>
                    <a:pt x="94351" y="278912"/>
                  </a:lnTo>
                  <a:lnTo>
                    <a:pt x="98041" y="275226"/>
                  </a:lnTo>
                  <a:lnTo>
                    <a:pt x="98041" y="271531"/>
                  </a:lnTo>
                  <a:lnTo>
                    <a:pt x="101730" y="267844"/>
                  </a:lnTo>
                  <a:lnTo>
                    <a:pt x="105419" y="264149"/>
                  </a:lnTo>
                  <a:lnTo>
                    <a:pt x="109108" y="264149"/>
                  </a:lnTo>
                  <a:lnTo>
                    <a:pt x="112797" y="264149"/>
                  </a:lnTo>
                  <a:lnTo>
                    <a:pt x="120176" y="271531"/>
                  </a:lnTo>
                  <a:lnTo>
                    <a:pt x="123865" y="271531"/>
                  </a:lnTo>
                  <a:lnTo>
                    <a:pt x="127554" y="267844"/>
                  </a:lnTo>
                  <a:lnTo>
                    <a:pt x="127554" y="264149"/>
                  </a:lnTo>
                  <a:lnTo>
                    <a:pt x="131243" y="264149"/>
                  </a:lnTo>
                  <a:lnTo>
                    <a:pt x="134932" y="264149"/>
                  </a:lnTo>
                  <a:lnTo>
                    <a:pt x="138621" y="275226"/>
                  </a:lnTo>
                  <a:lnTo>
                    <a:pt x="134932" y="282608"/>
                  </a:lnTo>
                  <a:lnTo>
                    <a:pt x="149690" y="286294"/>
                  </a:lnTo>
                  <a:lnTo>
                    <a:pt x="157068" y="289990"/>
                  </a:lnTo>
                  <a:lnTo>
                    <a:pt x="171825" y="297372"/>
                  </a:lnTo>
                  <a:lnTo>
                    <a:pt x="175514" y="297372"/>
                  </a:lnTo>
                  <a:lnTo>
                    <a:pt x="179203" y="297372"/>
                  </a:lnTo>
                  <a:lnTo>
                    <a:pt x="182892" y="297372"/>
                  </a:lnTo>
                  <a:lnTo>
                    <a:pt x="190271" y="289990"/>
                  </a:lnTo>
                  <a:lnTo>
                    <a:pt x="193960" y="278912"/>
                  </a:lnTo>
                  <a:lnTo>
                    <a:pt x="197649" y="271531"/>
                  </a:lnTo>
                  <a:lnTo>
                    <a:pt x="201338" y="275226"/>
                  </a:lnTo>
                  <a:lnTo>
                    <a:pt x="205027" y="278912"/>
                  </a:lnTo>
                  <a:lnTo>
                    <a:pt x="208716" y="278912"/>
                  </a:lnTo>
                  <a:lnTo>
                    <a:pt x="212406" y="278912"/>
                  </a:lnTo>
                  <a:lnTo>
                    <a:pt x="216095" y="275226"/>
                  </a:lnTo>
                  <a:lnTo>
                    <a:pt x="219784" y="271531"/>
                  </a:lnTo>
                  <a:lnTo>
                    <a:pt x="219784" y="264149"/>
                  </a:lnTo>
                  <a:lnTo>
                    <a:pt x="223473" y="264149"/>
                  </a:lnTo>
                  <a:lnTo>
                    <a:pt x="227162" y="264149"/>
                  </a:lnTo>
                  <a:lnTo>
                    <a:pt x="234541" y="267844"/>
                  </a:lnTo>
                  <a:lnTo>
                    <a:pt x="241923" y="275226"/>
                  </a:lnTo>
                  <a:lnTo>
                    <a:pt x="245609" y="275226"/>
                  </a:lnTo>
                  <a:lnTo>
                    <a:pt x="256677" y="275226"/>
                  </a:lnTo>
                  <a:lnTo>
                    <a:pt x="260363" y="278912"/>
                  </a:lnTo>
                  <a:lnTo>
                    <a:pt x="264050" y="282608"/>
                  </a:lnTo>
                  <a:lnTo>
                    <a:pt x="267745" y="282608"/>
                  </a:lnTo>
                  <a:lnTo>
                    <a:pt x="271431" y="278912"/>
                  </a:lnTo>
                  <a:lnTo>
                    <a:pt x="275118" y="278912"/>
                  </a:lnTo>
                  <a:lnTo>
                    <a:pt x="275118" y="275226"/>
                  </a:lnTo>
                  <a:lnTo>
                    <a:pt x="278813" y="271531"/>
                  </a:lnTo>
                  <a:lnTo>
                    <a:pt x="282499" y="271531"/>
                  </a:lnTo>
                  <a:lnTo>
                    <a:pt x="286186" y="267844"/>
                  </a:lnTo>
                  <a:lnTo>
                    <a:pt x="293568" y="271531"/>
                  </a:lnTo>
                  <a:lnTo>
                    <a:pt x="297254" y="271531"/>
                  </a:lnTo>
                  <a:lnTo>
                    <a:pt x="300949" y="267844"/>
                  </a:lnTo>
                  <a:lnTo>
                    <a:pt x="304636" y="267844"/>
                  </a:lnTo>
                  <a:lnTo>
                    <a:pt x="312017" y="264149"/>
                  </a:lnTo>
                  <a:lnTo>
                    <a:pt x="315704" y="264149"/>
                  </a:lnTo>
                  <a:lnTo>
                    <a:pt x="319390" y="260462"/>
                  </a:lnTo>
                  <a:lnTo>
                    <a:pt x="323086" y="256776"/>
                  </a:lnTo>
                  <a:lnTo>
                    <a:pt x="326772" y="256776"/>
                  </a:lnTo>
                  <a:lnTo>
                    <a:pt x="330458" y="260462"/>
                  </a:lnTo>
                  <a:lnTo>
                    <a:pt x="341526" y="260462"/>
                  </a:lnTo>
                  <a:lnTo>
                    <a:pt x="345212" y="260462"/>
                  </a:lnTo>
                  <a:lnTo>
                    <a:pt x="348908" y="260462"/>
                  </a:lnTo>
                  <a:lnTo>
                    <a:pt x="352594" y="264149"/>
                  </a:lnTo>
                  <a:lnTo>
                    <a:pt x="359976" y="267844"/>
                  </a:lnTo>
                  <a:lnTo>
                    <a:pt x="363662" y="267844"/>
                  </a:lnTo>
                  <a:lnTo>
                    <a:pt x="367348" y="271531"/>
                  </a:lnTo>
                  <a:lnTo>
                    <a:pt x="371044" y="271531"/>
                  </a:lnTo>
                  <a:lnTo>
                    <a:pt x="374730" y="271531"/>
                  </a:lnTo>
                  <a:lnTo>
                    <a:pt x="378416" y="278912"/>
                  </a:lnTo>
                  <a:lnTo>
                    <a:pt x="385798" y="282608"/>
                  </a:lnTo>
                  <a:lnTo>
                    <a:pt x="396866" y="286294"/>
                  </a:lnTo>
                  <a:lnTo>
                    <a:pt x="404239" y="289990"/>
                  </a:lnTo>
                  <a:lnTo>
                    <a:pt x="411620" y="286294"/>
                  </a:lnTo>
                  <a:lnTo>
                    <a:pt x="415307" y="282608"/>
                  </a:lnTo>
                  <a:lnTo>
                    <a:pt x="415307" y="278912"/>
                  </a:lnTo>
                  <a:lnTo>
                    <a:pt x="415307" y="275226"/>
                  </a:lnTo>
                  <a:lnTo>
                    <a:pt x="411620" y="271531"/>
                  </a:lnTo>
                  <a:lnTo>
                    <a:pt x="415307" y="267844"/>
                  </a:lnTo>
                  <a:lnTo>
                    <a:pt x="411620" y="264149"/>
                  </a:lnTo>
                  <a:lnTo>
                    <a:pt x="411620" y="260462"/>
                  </a:lnTo>
                  <a:lnTo>
                    <a:pt x="407934" y="253081"/>
                  </a:lnTo>
                  <a:lnTo>
                    <a:pt x="407934" y="249394"/>
                  </a:lnTo>
                  <a:lnTo>
                    <a:pt x="404239" y="249394"/>
                  </a:lnTo>
                  <a:lnTo>
                    <a:pt x="400552" y="245699"/>
                  </a:lnTo>
                  <a:lnTo>
                    <a:pt x="396866" y="242013"/>
                  </a:lnTo>
                  <a:lnTo>
                    <a:pt x="396866" y="238317"/>
                  </a:lnTo>
                  <a:lnTo>
                    <a:pt x="396866" y="234631"/>
                  </a:lnTo>
                  <a:lnTo>
                    <a:pt x="396866" y="230935"/>
                  </a:lnTo>
                  <a:lnTo>
                    <a:pt x="396866" y="219867"/>
                  </a:lnTo>
                  <a:lnTo>
                    <a:pt x="385798" y="212485"/>
                  </a:lnTo>
                  <a:lnTo>
                    <a:pt x="389484" y="212485"/>
                  </a:lnTo>
                  <a:lnTo>
                    <a:pt x="389484" y="208799"/>
                  </a:lnTo>
                  <a:lnTo>
                    <a:pt x="382112" y="208799"/>
                  </a:lnTo>
                  <a:lnTo>
                    <a:pt x="382112" y="190339"/>
                  </a:lnTo>
                  <a:lnTo>
                    <a:pt x="382112" y="186653"/>
                  </a:lnTo>
                  <a:lnTo>
                    <a:pt x="385798" y="182958"/>
                  </a:lnTo>
                  <a:lnTo>
                    <a:pt x="382112" y="179271"/>
                  </a:lnTo>
                  <a:lnTo>
                    <a:pt x="382112" y="175576"/>
                  </a:lnTo>
                  <a:lnTo>
                    <a:pt x="382112" y="171890"/>
                  </a:lnTo>
                  <a:lnTo>
                    <a:pt x="382112" y="168194"/>
                  </a:lnTo>
                  <a:lnTo>
                    <a:pt x="378416" y="160821"/>
                  </a:lnTo>
                  <a:lnTo>
                    <a:pt x="367348" y="164508"/>
                  </a:lnTo>
                  <a:lnTo>
                    <a:pt x="371044" y="168194"/>
                  </a:lnTo>
                  <a:lnTo>
                    <a:pt x="371044" y="171890"/>
                  </a:lnTo>
                  <a:lnTo>
                    <a:pt x="371044" y="175576"/>
                  </a:lnTo>
                  <a:lnTo>
                    <a:pt x="367348" y="175576"/>
                  </a:lnTo>
                  <a:lnTo>
                    <a:pt x="367348" y="179271"/>
                  </a:lnTo>
                  <a:lnTo>
                    <a:pt x="363662" y="182958"/>
                  </a:lnTo>
                  <a:lnTo>
                    <a:pt x="359976" y="182958"/>
                  </a:lnTo>
                  <a:lnTo>
                    <a:pt x="356280" y="186653"/>
                  </a:lnTo>
                  <a:lnTo>
                    <a:pt x="352594" y="190339"/>
                  </a:lnTo>
                  <a:lnTo>
                    <a:pt x="348908" y="190339"/>
                  </a:lnTo>
                  <a:lnTo>
                    <a:pt x="345212" y="190339"/>
                  </a:lnTo>
                  <a:lnTo>
                    <a:pt x="337840" y="186653"/>
                  </a:lnTo>
                  <a:lnTo>
                    <a:pt x="334144" y="182958"/>
                  </a:lnTo>
                  <a:lnTo>
                    <a:pt x="334144" y="179271"/>
                  </a:lnTo>
                  <a:lnTo>
                    <a:pt x="337840" y="179271"/>
                  </a:lnTo>
                  <a:lnTo>
                    <a:pt x="341526" y="175576"/>
                  </a:lnTo>
                  <a:lnTo>
                    <a:pt x="345212" y="171890"/>
                  </a:lnTo>
                  <a:lnTo>
                    <a:pt x="345212" y="168194"/>
                  </a:lnTo>
                  <a:lnTo>
                    <a:pt x="345212" y="160821"/>
                  </a:lnTo>
                  <a:lnTo>
                    <a:pt x="348908" y="157126"/>
                  </a:lnTo>
                  <a:lnTo>
                    <a:pt x="348908" y="153440"/>
                  </a:lnTo>
                  <a:lnTo>
                    <a:pt x="352594" y="153440"/>
                  </a:lnTo>
                  <a:lnTo>
                    <a:pt x="356280" y="153440"/>
                  </a:lnTo>
                  <a:lnTo>
                    <a:pt x="356280" y="149744"/>
                  </a:lnTo>
                  <a:lnTo>
                    <a:pt x="352594" y="149744"/>
                  </a:lnTo>
                  <a:lnTo>
                    <a:pt x="352594" y="146058"/>
                  </a:lnTo>
                  <a:lnTo>
                    <a:pt x="352594" y="142362"/>
                  </a:lnTo>
                  <a:lnTo>
                    <a:pt x="359976" y="142362"/>
                  </a:lnTo>
                  <a:lnTo>
                    <a:pt x="359976" y="138676"/>
                  </a:lnTo>
                  <a:lnTo>
                    <a:pt x="359976" y="134980"/>
                  </a:lnTo>
                  <a:lnTo>
                    <a:pt x="352594" y="134980"/>
                  </a:lnTo>
                  <a:lnTo>
                    <a:pt x="352594" y="127598"/>
                  </a:lnTo>
                  <a:lnTo>
                    <a:pt x="348908" y="127598"/>
                  </a:lnTo>
                  <a:lnTo>
                    <a:pt x="345212" y="127598"/>
                  </a:lnTo>
                  <a:lnTo>
                    <a:pt x="345212" y="123912"/>
                  </a:lnTo>
                  <a:lnTo>
                    <a:pt x="345212" y="120216"/>
                  </a:lnTo>
                  <a:lnTo>
                    <a:pt x="341526" y="116530"/>
                  </a:lnTo>
                  <a:lnTo>
                    <a:pt x="345212" y="116530"/>
                  </a:lnTo>
                  <a:lnTo>
                    <a:pt x="345212" y="112844"/>
                  </a:lnTo>
                  <a:lnTo>
                    <a:pt x="326772" y="112844"/>
                  </a:lnTo>
                  <a:lnTo>
                    <a:pt x="323086" y="109148"/>
                  </a:lnTo>
                  <a:lnTo>
                    <a:pt x="323086" y="98080"/>
                  </a:lnTo>
                  <a:lnTo>
                    <a:pt x="323086" y="94385"/>
                  </a:lnTo>
                  <a:lnTo>
                    <a:pt x="323086" y="90698"/>
                  </a:lnTo>
                  <a:lnTo>
                    <a:pt x="323086" y="87003"/>
                  </a:lnTo>
                  <a:lnTo>
                    <a:pt x="323086" y="83316"/>
                  </a:lnTo>
                  <a:lnTo>
                    <a:pt x="308322" y="72239"/>
                  </a:lnTo>
                  <a:lnTo>
                    <a:pt x="308322" y="75935"/>
                  </a:lnTo>
                  <a:lnTo>
                    <a:pt x="300949" y="72239"/>
                  </a:lnTo>
                  <a:lnTo>
                    <a:pt x="300949" y="68553"/>
                  </a:lnTo>
                  <a:lnTo>
                    <a:pt x="304636" y="50103"/>
                  </a:lnTo>
                  <a:lnTo>
                    <a:pt x="300949" y="46407"/>
                  </a:lnTo>
                  <a:lnTo>
                    <a:pt x="297254" y="42721"/>
                  </a:lnTo>
                  <a:lnTo>
                    <a:pt x="293568" y="39025"/>
                  </a:lnTo>
                  <a:lnTo>
                    <a:pt x="289881" y="39025"/>
                  </a:lnTo>
                  <a:lnTo>
                    <a:pt x="289881" y="35339"/>
                  </a:lnTo>
                  <a:lnTo>
                    <a:pt x="286186" y="31643"/>
                  </a:lnTo>
                  <a:lnTo>
                    <a:pt x="282499" y="31643"/>
                  </a:lnTo>
                  <a:lnTo>
                    <a:pt x="278813" y="31643"/>
                  </a:lnTo>
                  <a:lnTo>
                    <a:pt x="275118" y="31643"/>
                  </a:lnTo>
                  <a:lnTo>
                    <a:pt x="271431" y="27957"/>
                  </a:lnTo>
                  <a:lnTo>
                    <a:pt x="264050" y="27957"/>
                  </a:lnTo>
                  <a:lnTo>
                    <a:pt x="260363" y="24262"/>
                  </a:lnTo>
                  <a:lnTo>
                    <a:pt x="245609" y="24262"/>
                  </a:lnTo>
                  <a:lnTo>
                    <a:pt x="238227" y="20575"/>
                  </a:lnTo>
                  <a:lnTo>
                    <a:pt x="227162" y="42721"/>
                  </a:lnTo>
                  <a:lnTo>
                    <a:pt x="227162" y="46407"/>
                  </a:lnTo>
                  <a:lnTo>
                    <a:pt x="227162" y="50103"/>
                  </a:lnTo>
                  <a:lnTo>
                    <a:pt x="223473" y="57485"/>
                  </a:lnTo>
                  <a:lnTo>
                    <a:pt x="219784" y="68553"/>
                  </a:lnTo>
                  <a:lnTo>
                    <a:pt x="216095" y="75935"/>
                  </a:lnTo>
                  <a:lnTo>
                    <a:pt x="216095" y="83316"/>
                  </a:lnTo>
                  <a:lnTo>
                    <a:pt x="212406" y="87003"/>
                  </a:lnTo>
                  <a:lnTo>
                    <a:pt x="212406" y="90698"/>
                  </a:lnTo>
                  <a:lnTo>
                    <a:pt x="205027" y="105462"/>
                  </a:lnTo>
                  <a:lnTo>
                    <a:pt x="197649" y="105462"/>
                  </a:lnTo>
                  <a:lnTo>
                    <a:pt x="193960" y="105462"/>
                  </a:lnTo>
                  <a:lnTo>
                    <a:pt x="190271" y="105462"/>
                  </a:lnTo>
                  <a:lnTo>
                    <a:pt x="168136" y="101766"/>
                  </a:lnTo>
                  <a:lnTo>
                    <a:pt x="164447" y="101766"/>
                  </a:lnTo>
                  <a:lnTo>
                    <a:pt x="146001" y="109148"/>
                  </a:lnTo>
                  <a:lnTo>
                    <a:pt x="131243" y="112844"/>
                  </a:lnTo>
                  <a:lnTo>
                    <a:pt x="131243" y="98080"/>
                  </a:lnTo>
                  <a:lnTo>
                    <a:pt x="127554" y="98080"/>
                  </a:lnTo>
                  <a:lnTo>
                    <a:pt x="127554" y="90698"/>
                  </a:lnTo>
                  <a:lnTo>
                    <a:pt x="127554" y="87003"/>
                  </a:lnTo>
                  <a:lnTo>
                    <a:pt x="123865" y="87003"/>
                  </a:lnTo>
                  <a:lnTo>
                    <a:pt x="120176" y="83316"/>
                  </a:lnTo>
                  <a:lnTo>
                    <a:pt x="127554" y="83316"/>
                  </a:lnTo>
                  <a:lnTo>
                    <a:pt x="127554" y="79621"/>
                  </a:lnTo>
                  <a:lnTo>
                    <a:pt x="127554" y="75935"/>
                  </a:lnTo>
                  <a:lnTo>
                    <a:pt x="127554" y="68553"/>
                  </a:lnTo>
                  <a:lnTo>
                    <a:pt x="127554" y="61171"/>
                  </a:lnTo>
                  <a:lnTo>
                    <a:pt x="131243" y="61171"/>
                  </a:lnTo>
                  <a:lnTo>
                    <a:pt x="138621" y="57485"/>
                  </a:lnTo>
                  <a:lnTo>
                    <a:pt x="131243" y="53789"/>
                  </a:lnTo>
                  <a:lnTo>
                    <a:pt x="131243" y="46407"/>
                  </a:lnTo>
                  <a:lnTo>
                    <a:pt x="131243" y="42721"/>
                  </a:lnTo>
                  <a:lnTo>
                    <a:pt x="127554" y="42721"/>
                  </a:lnTo>
                  <a:lnTo>
                    <a:pt x="127554" y="46407"/>
                  </a:lnTo>
                  <a:lnTo>
                    <a:pt x="123865" y="42721"/>
                  </a:lnTo>
                  <a:lnTo>
                    <a:pt x="120176" y="31643"/>
                  </a:lnTo>
                  <a:lnTo>
                    <a:pt x="120176" y="27957"/>
                  </a:lnTo>
                  <a:lnTo>
                    <a:pt x="123865" y="27957"/>
                  </a:lnTo>
                  <a:lnTo>
                    <a:pt x="127554" y="27957"/>
                  </a:lnTo>
                  <a:lnTo>
                    <a:pt x="127554" y="24262"/>
                  </a:lnTo>
                  <a:lnTo>
                    <a:pt x="131243" y="24262"/>
                  </a:lnTo>
                  <a:lnTo>
                    <a:pt x="134932" y="24262"/>
                  </a:lnTo>
                  <a:lnTo>
                    <a:pt x="134932" y="20575"/>
                  </a:lnTo>
                  <a:lnTo>
                    <a:pt x="138621" y="20575"/>
                  </a:lnTo>
                  <a:lnTo>
                    <a:pt x="142312" y="20575"/>
                  </a:lnTo>
                  <a:lnTo>
                    <a:pt x="138621" y="16889"/>
                  </a:lnTo>
                  <a:lnTo>
                    <a:pt x="134932" y="16889"/>
                  </a:lnTo>
                  <a:lnTo>
                    <a:pt x="131243" y="20575"/>
                  </a:lnTo>
                  <a:lnTo>
                    <a:pt x="127554" y="20575"/>
                  </a:lnTo>
                  <a:lnTo>
                    <a:pt x="123865" y="16889"/>
                  </a:lnTo>
                  <a:lnTo>
                    <a:pt x="120176" y="20575"/>
                  </a:lnTo>
                  <a:lnTo>
                    <a:pt x="120176" y="5812"/>
                  </a:lnTo>
                  <a:lnTo>
                    <a:pt x="116486" y="5812"/>
                  </a:lnTo>
                  <a:lnTo>
                    <a:pt x="112797"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grpSp>
          <p:nvGrpSpPr>
            <p:cNvPr id="13" name="Google Shape;405;p2">
              <a:extLst>
                <a:ext uri="{FF2B5EF4-FFF2-40B4-BE49-F238E27FC236}">
                  <a16:creationId xmlns:a16="http://schemas.microsoft.com/office/drawing/2014/main" id="{3A878A54-F1C6-4DE5-B94C-B7C9D25F1526}"/>
                </a:ext>
              </a:extLst>
            </p:cNvPr>
            <p:cNvGrpSpPr/>
            <p:nvPr/>
          </p:nvGrpSpPr>
          <p:grpSpPr>
            <a:xfrm>
              <a:off x="2352151" y="1749851"/>
              <a:ext cx="931378" cy="1845658"/>
              <a:chOff x="2352151" y="1749851"/>
              <a:chExt cx="931378" cy="1845658"/>
            </a:xfrm>
            <a:grpFill/>
          </p:grpSpPr>
          <p:sp>
            <p:nvSpPr>
              <p:cNvPr id="61" name="Google Shape;406;p2">
                <a:extLst>
                  <a:ext uri="{FF2B5EF4-FFF2-40B4-BE49-F238E27FC236}">
                    <a16:creationId xmlns:a16="http://schemas.microsoft.com/office/drawing/2014/main" id="{2FB2F217-29F6-49AB-9BEE-1D3E33A44B73}"/>
                  </a:ext>
                </a:extLst>
              </p:cNvPr>
              <p:cNvSpPr/>
              <p:nvPr/>
            </p:nvSpPr>
            <p:spPr>
              <a:xfrm>
                <a:off x="2536715" y="2110723"/>
                <a:ext cx="86640" cy="64980"/>
              </a:xfrm>
              <a:custGeom>
                <a:avLst/>
                <a:gdLst/>
                <a:ahLst/>
                <a:cxnLst/>
                <a:rect l="l" t="t" r="r" b="b"/>
                <a:pathLst>
                  <a:path w="38100" h="28575" extrusionOk="0">
                    <a:moveTo>
                      <a:pt x="27947" y="13192"/>
                    </a:moveTo>
                    <a:lnTo>
                      <a:pt x="20569" y="16883"/>
                    </a:lnTo>
                    <a:lnTo>
                      <a:pt x="20569" y="16883"/>
                    </a:lnTo>
                    <a:lnTo>
                      <a:pt x="20569" y="16883"/>
                    </a:lnTo>
                    <a:lnTo>
                      <a:pt x="20569" y="16883"/>
                    </a:lnTo>
                    <a:lnTo>
                      <a:pt x="16879" y="20573"/>
                    </a:lnTo>
                    <a:lnTo>
                      <a:pt x="13190" y="20573"/>
                    </a:lnTo>
                    <a:lnTo>
                      <a:pt x="13190" y="24264"/>
                    </a:lnTo>
                    <a:lnTo>
                      <a:pt x="13190" y="24264"/>
                    </a:lnTo>
                    <a:lnTo>
                      <a:pt x="9501" y="24264"/>
                    </a:lnTo>
                    <a:lnTo>
                      <a:pt x="9501" y="24264"/>
                    </a:lnTo>
                    <a:lnTo>
                      <a:pt x="5812" y="20573"/>
                    </a:lnTo>
                    <a:lnTo>
                      <a:pt x="5812" y="20573"/>
                    </a:lnTo>
                    <a:lnTo>
                      <a:pt x="5812" y="16883"/>
                    </a:lnTo>
                    <a:lnTo>
                      <a:pt x="5812" y="13192"/>
                    </a:lnTo>
                    <a:lnTo>
                      <a:pt x="5812" y="9503"/>
                    </a:lnTo>
                    <a:lnTo>
                      <a:pt x="9501" y="9503"/>
                    </a:lnTo>
                    <a:lnTo>
                      <a:pt x="9501" y="9503"/>
                    </a:lnTo>
                    <a:lnTo>
                      <a:pt x="9501" y="9503"/>
                    </a:lnTo>
                    <a:lnTo>
                      <a:pt x="9501" y="9503"/>
                    </a:lnTo>
                    <a:lnTo>
                      <a:pt x="13190" y="9503"/>
                    </a:lnTo>
                    <a:lnTo>
                      <a:pt x="16879" y="9503"/>
                    </a:lnTo>
                    <a:lnTo>
                      <a:pt x="27947" y="5812"/>
                    </a:lnTo>
                    <a:lnTo>
                      <a:pt x="27947" y="5812"/>
                    </a:lnTo>
                    <a:lnTo>
                      <a:pt x="35325" y="5812"/>
                    </a:lnTo>
                    <a:lnTo>
                      <a:pt x="35325" y="9503"/>
                    </a:lnTo>
                    <a:lnTo>
                      <a:pt x="35325" y="9503"/>
                    </a:lnTo>
                    <a:lnTo>
                      <a:pt x="27947" y="1319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62" name="Google Shape;407;p2">
                <a:extLst>
                  <a:ext uri="{FF2B5EF4-FFF2-40B4-BE49-F238E27FC236}">
                    <a16:creationId xmlns:a16="http://schemas.microsoft.com/office/drawing/2014/main" id="{28B37A02-306D-484A-8C1F-EA397F0BBC3A}"/>
                  </a:ext>
                </a:extLst>
              </p:cNvPr>
              <p:cNvSpPr/>
              <p:nvPr/>
            </p:nvSpPr>
            <p:spPr>
              <a:xfrm>
                <a:off x="2352151" y="2144292"/>
                <a:ext cx="931378" cy="1451217"/>
              </a:xfrm>
              <a:custGeom>
                <a:avLst/>
                <a:gdLst/>
                <a:ahLst/>
                <a:cxnLst/>
                <a:rect l="l" t="t" r="r" b="b"/>
                <a:pathLst>
                  <a:path w="409575" h="638175" extrusionOk="0">
                    <a:moveTo>
                      <a:pt x="127555" y="5812"/>
                    </a:moveTo>
                    <a:lnTo>
                      <a:pt x="120176" y="16883"/>
                    </a:lnTo>
                    <a:lnTo>
                      <a:pt x="120176" y="20574"/>
                    </a:lnTo>
                    <a:lnTo>
                      <a:pt x="120176" y="24264"/>
                    </a:lnTo>
                    <a:lnTo>
                      <a:pt x="120176" y="31646"/>
                    </a:lnTo>
                    <a:lnTo>
                      <a:pt x="116487" y="42718"/>
                    </a:lnTo>
                    <a:lnTo>
                      <a:pt x="116487" y="53789"/>
                    </a:lnTo>
                    <a:lnTo>
                      <a:pt x="116487" y="68552"/>
                    </a:lnTo>
                    <a:lnTo>
                      <a:pt x="109109" y="90695"/>
                    </a:lnTo>
                    <a:lnTo>
                      <a:pt x="105420" y="112838"/>
                    </a:lnTo>
                    <a:lnTo>
                      <a:pt x="98041" y="134982"/>
                    </a:lnTo>
                    <a:lnTo>
                      <a:pt x="98041" y="142363"/>
                    </a:lnTo>
                    <a:lnTo>
                      <a:pt x="94352" y="142363"/>
                    </a:lnTo>
                    <a:lnTo>
                      <a:pt x="94352" y="149744"/>
                    </a:lnTo>
                    <a:lnTo>
                      <a:pt x="86974" y="164507"/>
                    </a:lnTo>
                    <a:lnTo>
                      <a:pt x="86974" y="171888"/>
                    </a:lnTo>
                    <a:lnTo>
                      <a:pt x="79596" y="194031"/>
                    </a:lnTo>
                    <a:lnTo>
                      <a:pt x="79596" y="197721"/>
                    </a:lnTo>
                    <a:lnTo>
                      <a:pt x="79596" y="201412"/>
                    </a:lnTo>
                    <a:lnTo>
                      <a:pt x="79596" y="205102"/>
                    </a:lnTo>
                    <a:lnTo>
                      <a:pt x="79596" y="208793"/>
                    </a:lnTo>
                    <a:lnTo>
                      <a:pt x="79596" y="219865"/>
                    </a:lnTo>
                    <a:lnTo>
                      <a:pt x="75906" y="234627"/>
                    </a:lnTo>
                    <a:lnTo>
                      <a:pt x="75906" y="242009"/>
                    </a:lnTo>
                    <a:lnTo>
                      <a:pt x="75906" y="249390"/>
                    </a:lnTo>
                    <a:lnTo>
                      <a:pt x="72217" y="264151"/>
                    </a:lnTo>
                    <a:lnTo>
                      <a:pt x="72217" y="271532"/>
                    </a:lnTo>
                    <a:lnTo>
                      <a:pt x="72217" y="275223"/>
                    </a:lnTo>
                    <a:lnTo>
                      <a:pt x="72217" y="282604"/>
                    </a:lnTo>
                    <a:lnTo>
                      <a:pt x="68528" y="286295"/>
                    </a:lnTo>
                    <a:lnTo>
                      <a:pt x="68528" y="289986"/>
                    </a:lnTo>
                    <a:lnTo>
                      <a:pt x="64839" y="315820"/>
                    </a:lnTo>
                    <a:lnTo>
                      <a:pt x="61150" y="349034"/>
                    </a:lnTo>
                    <a:lnTo>
                      <a:pt x="57461" y="367487"/>
                    </a:lnTo>
                    <a:lnTo>
                      <a:pt x="53772" y="374869"/>
                    </a:lnTo>
                    <a:lnTo>
                      <a:pt x="50082" y="382250"/>
                    </a:lnTo>
                    <a:lnTo>
                      <a:pt x="46393" y="389631"/>
                    </a:lnTo>
                    <a:lnTo>
                      <a:pt x="42704" y="400703"/>
                    </a:lnTo>
                    <a:lnTo>
                      <a:pt x="50082" y="397012"/>
                    </a:lnTo>
                    <a:lnTo>
                      <a:pt x="53772" y="397012"/>
                    </a:lnTo>
                    <a:lnTo>
                      <a:pt x="61150" y="393322"/>
                    </a:lnTo>
                    <a:lnTo>
                      <a:pt x="64839" y="397012"/>
                    </a:lnTo>
                    <a:lnTo>
                      <a:pt x="61150" y="397012"/>
                    </a:lnTo>
                    <a:lnTo>
                      <a:pt x="61150" y="400703"/>
                    </a:lnTo>
                    <a:lnTo>
                      <a:pt x="53772" y="400703"/>
                    </a:lnTo>
                    <a:lnTo>
                      <a:pt x="50082" y="404394"/>
                    </a:lnTo>
                    <a:lnTo>
                      <a:pt x="57461" y="404394"/>
                    </a:lnTo>
                    <a:lnTo>
                      <a:pt x="57461" y="408084"/>
                    </a:lnTo>
                    <a:lnTo>
                      <a:pt x="50082" y="404394"/>
                    </a:lnTo>
                    <a:lnTo>
                      <a:pt x="46393" y="404394"/>
                    </a:lnTo>
                    <a:lnTo>
                      <a:pt x="46393" y="408084"/>
                    </a:lnTo>
                    <a:lnTo>
                      <a:pt x="39015" y="404394"/>
                    </a:lnTo>
                    <a:lnTo>
                      <a:pt x="39015" y="411775"/>
                    </a:lnTo>
                    <a:lnTo>
                      <a:pt x="42704" y="419156"/>
                    </a:lnTo>
                    <a:lnTo>
                      <a:pt x="39015" y="422847"/>
                    </a:lnTo>
                    <a:lnTo>
                      <a:pt x="39015" y="430227"/>
                    </a:lnTo>
                    <a:lnTo>
                      <a:pt x="35326" y="437608"/>
                    </a:lnTo>
                    <a:lnTo>
                      <a:pt x="31637" y="452370"/>
                    </a:lnTo>
                    <a:lnTo>
                      <a:pt x="27947" y="463442"/>
                    </a:lnTo>
                    <a:lnTo>
                      <a:pt x="20569" y="481898"/>
                    </a:lnTo>
                    <a:lnTo>
                      <a:pt x="5812" y="511416"/>
                    </a:lnTo>
                    <a:lnTo>
                      <a:pt x="31637" y="522493"/>
                    </a:lnTo>
                    <a:lnTo>
                      <a:pt x="42704" y="526179"/>
                    </a:lnTo>
                    <a:lnTo>
                      <a:pt x="42704" y="518798"/>
                    </a:lnTo>
                    <a:lnTo>
                      <a:pt x="46393" y="522493"/>
                    </a:lnTo>
                    <a:lnTo>
                      <a:pt x="50082" y="518798"/>
                    </a:lnTo>
                    <a:lnTo>
                      <a:pt x="53772" y="518798"/>
                    </a:lnTo>
                    <a:lnTo>
                      <a:pt x="57461" y="518798"/>
                    </a:lnTo>
                    <a:lnTo>
                      <a:pt x="64839" y="522493"/>
                    </a:lnTo>
                    <a:lnTo>
                      <a:pt x="61150" y="529875"/>
                    </a:lnTo>
                    <a:lnTo>
                      <a:pt x="57461" y="533561"/>
                    </a:lnTo>
                    <a:lnTo>
                      <a:pt x="57461" y="540943"/>
                    </a:lnTo>
                    <a:lnTo>
                      <a:pt x="53772" y="540943"/>
                    </a:lnTo>
                    <a:lnTo>
                      <a:pt x="53772" y="544639"/>
                    </a:lnTo>
                    <a:lnTo>
                      <a:pt x="53772" y="548325"/>
                    </a:lnTo>
                    <a:lnTo>
                      <a:pt x="50082" y="552011"/>
                    </a:lnTo>
                    <a:lnTo>
                      <a:pt x="46393" y="555707"/>
                    </a:lnTo>
                    <a:lnTo>
                      <a:pt x="42704" y="559393"/>
                    </a:lnTo>
                    <a:lnTo>
                      <a:pt x="42704" y="563089"/>
                    </a:lnTo>
                    <a:lnTo>
                      <a:pt x="42704" y="566775"/>
                    </a:lnTo>
                    <a:lnTo>
                      <a:pt x="42704" y="570471"/>
                    </a:lnTo>
                    <a:lnTo>
                      <a:pt x="42704" y="577853"/>
                    </a:lnTo>
                    <a:lnTo>
                      <a:pt x="39015" y="581539"/>
                    </a:lnTo>
                    <a:lnTo>
                      <a:pt x="39015" y="585234"/>
                    </a:lnTo>
                    <a:lnTo>
                      <a:pt x="35326" y="585234"/>
                    </a:lnTo>
                    <a:lnTo>
                      <a:pt x="35326" y="588921"/>
                    </a:lnTo>
                    <a:lnTo>
                      <a:pt x="35326" y="592616"/>
                    </a:lnTo>
                    <a:lnTo>
                      <a:pt x="35326" y="596303"/>
                    </a:lnTo>
                    <a:lnTo>
                      <a:pt x="39015" y="596303"/>
                    </a:lnTo>
                    <a:lnTo>
                      <a:pt x="42704" y="599989"/>
                    </a:lnTo>
                    <a:lnTo>
                      <a:pt x="46393" y="599989"/>
                    </a:lnTo>
                    <a:lnTo>
                      <a:pt x="50082" y="596303"/>
                    </a:lnTo>
                    <a:lnTo>
                      <a:pt x="57461" y="599989"/>
                    </a:lnTo>
                    <a:lnTo>
                      <a:pt x="68528" y="599989"/>
                    </a:lnTo>
                    <a:lnTo>
                      <a:pt x="72217" y="599989"/>
                    </a:lnTo>
                    <a:lnTo>
                      <a:pt x="75906" y="599989"/>
                    </a:lnTo>
                    <a:lnTo>
                      <a:pt x="79596" y="596303"/>
                    </a:lnTo>
                    <a:lnTo>
                      <a:pt x="86974" y="592616"/>
                    </a:lnTo>
                    <a:lnTo>
                      <a:pt x="90663" y="592616"/>
                    </a:lnTo>
                    <a:lnTo>
                      <a:pt x="90663" y="588921"/>
                    </a:lnTo>
                    <a:lnTo>
                      <a:pt x="94352" y="592616"/>
                    </a:lnTo>
                    <a:lnTo>
                      <a:pt x="98041" y="592616"/>
                    </a:lnTo>
                    <a:lnTo>
                      <a:pt x="101731" y="592616"/>
                    </a:lnTo>
                    <a:lnTo>
                      <a:pt x="105420" y="588921"/>
                    </a:lnTo>
                    <a:lnTo>
                      <a:pt x="109109" y="585234"/>
                    </a:lnTo>
                    <a:lnTo>
                      <a:pt x="120176" y="588921"/>
                    </a:lnTo>
                    <a:lnTo>
                      <a:pt x="116487" y="599989"/>
                    </a:lnTo>
                    <a:lnTo>
                      <a:pt x="120176" y="603684"/>
                    </a:lnTo>
                    <a:lnTo>
                      <a:pt x="123866" y="607371"/>
                    </a:lnTo>
                    <a:lnTo>
                      <a:pt x="127555" y="599989"/>
                    </a:lnTo>
                    <a:lnTo>
                      <a:pt x="131244" y="599989"/>
                    </a:lnTo>
                    <a:lnTo>
                      <a:pt x="138622" y="599989"/>
                    </a:lnTo>
                    <a:lnTo>
                      <a:pt x="142312" y="596303"/>
                    </a:lnTo>
                    <a:lnTo>
                      <a:pt x="142312" y="592616"/>
                    </a:lnTo>
                    <a:lnTo>
                      <a:pt x="146001" y="592616"/>
                    </a:lnTo>
                    <a:lnTo>
                      <a:pt x="149690" y="592616"/>
                    </a:lnTo>
                    <a:lnTo>
                      <a:pt x="153380" y="592616"/>
                    </a:lnTo>
                    <a:lnTo>
                      <a:pt x="157069" y="592616"/>
                    </a:lnTo>
                    <a:lnTo>
                      <a:pt x="160758" y="592616"/>
                    </a:lnTo>
                    <a:lnTo>
                      <a:pt x="164447" y="592616"/>
                    </a:lnTo>
                    <a:lnTo>
                      <a:pt x="168136" y="588921"/>
                    </a:lnTo>
                    <a:lnTo>
                      <a:pt x="171826" y="588921"/>
                    </a:lnTo>
                    <a:lnTo>
                      <a:pt x="171826" y="585234"/>
                    </a:lnTo>
                    <a:lnTo>
                      <a:pt x="175515" y="585234"/>
                    </a:lnTo>
                    <a:lnTo>
                      <a:pt x="179204" y="581539"/>
                    </a:lnTo>
                    <a:lnTo>
                      <a:pt x="182893" y="581539"/>
                    </a:lnTo>
                    <a:lnTo>
                      <a:pt x="182893" y="577853"/>
                    </a:lnTo>
                    <a:lnTo>
                      <a:pt x="190272" y="574157"/>
                    </a:lnTo>
                    <a:lnTo>
                      <a:pt x="193961" y="570471"/>
                    </a:lnTo>
                    <a:lnTo>
                      <a:pt x="197650" y="570471"/>
                    </a:lnTo>
                    <a:lnTo>
                      <a:pt x="201339" y="570471"/>
                    </a:lnTo>
                    <a:lnTo>
                      <a:pt x="205028" y="574157"/>
                    </a:lnTo>
                    <a:lnTo>
                      <a:pt x="205028" y="570471"/>
                    </a:lnTo>
                    <a:lnTo>
                      <a:pt x="208717" y="570471"/>
                    </a:lnTo>
                    <a:lnTo>
                      <a:pt x="212406" y="570471"/>
                    </a:lnTo>
                    <a:lnTo>
                      <a:pt x="212406" y="566775"/>
                    </a:lnTo>
                    <a:lnTo>
                      <a:pt x="216096" y="563089"/>
                    </a:lnTo>
                    <a:lnTo>
                      <a:pt x="219785" y="559393"/>
                    </a:lnTo>
                    <a:lnTo>
                      <a:pt x="216096" y="555707"/>
                    </a:lnTo>
                    <a:lnTo>
                      <a:pt x="216096" y="552011"/>
                    </a:lnTo>
                    <a:lnTo>
                      <a:pt x="219785" y="548325"/>
                    </a:lnTo>
                    <a:lnTo>
                      <a:pt x="227163" y="552011"/>
                    </a:lnTo>
                    <a:lnTo>
                      <a:pt x="230852" y="552011"/>
                    </a:lnTo>
                    <a:lnTo>
                      <a:pt x="234541" y="552011"/>
                    </a:lnTo>
                    <a:lnTo>
                      <a:pt x="238230" y="552011"/>
                    </a:lnTo>
                    <a:lnTo>
                      <a:pt x="238230" y="548325"/>
                    </a:lnTo>
                    <a:lnTo>
                      <a:pt x="245609" y="544639"/>
                    </a:lnTo>
                    <a:lnTo>
                      <a:pt x="245609" y="540943"/>
                    </a:lnTo>
                    <a:lnTo>
                      <a:pt x="252987" y="544639"/>
                    </a:lnTo>
                    <a:lnTo>
                      <a:pt x="252987" y="540943"/>
                    </a:lnTo>
                    <a:lnTo>
                      <a:pt x="252987" y="537257"/>
                    </a:lnTo>
                    <a:lnTo>
                      <a:pt x="256676" y="537257"/>
                    </a:lnTo>
                    <a:lnTo>
                      <a:pt x="256676" y="533561"/>
                    </a:lnTo>
                    <a:lnTo>
                      <a:pt x="260365" y="533561"/>
                    </a:lnTo>
                    <a:lnTo>
                      <a:pt x="264055" y="533561"/>
                    </a:lnTo>
                    <a:lnTo>
                      <a:pt x="264055" y="548325"/>
                    </a:lnTo>
                    <a:lnTo>
                      <a:pt x="267744" y="544639"/>
                    </a:lnTo>
                    <a:lnTo>
                      <a:pt x="271433" y="548325"/>
                    </a:lnTo>
                    <a:lnTo>
                      <a:pt x="275122" y="548325"/>
                    </a:lnTo>
                    <a:lnTo>
                      <a:pt x="278811" y="544639"/>
                    </a:lnTo>
                    <a:lnTo>
                      <a:pt x="282500" y="544639"/>
                    </a:lnTo>
                    <a:lnTo>
                      <a:pt x="286190" y="548325"/>
                    </a:lnTo>
                    <a:lnTo>
                      <a:pt x="282500" y="548325"/>
                    </a:lnTo>
                    <a:lnTo>
                      <a:pt x="278811" y="548325"/>
                    </a:lnTo>
                    <a:lnTo>
                      <a:pt x="278811" y="552011"/>
                    </a:lnTo>
                    <a:lnTo>
                      <a:pt x="275122" y="552011"/>
                    </a:lnTo>
                    <a:lnTo>
                      <a:pt x="271433" y="552011"/>
                    </a:lnTo>
                    <a:lnTo>
                      <a:pt x="271433" y="555707"/>
                    </a:lnTo>
                    <a:lnTo>
                      <a:pt x="267744" y="555707"/>
                    </a:lnTo>
                    <a:lnTo>
                      <a:pt x="264055" y="555707"/>
                    </a:lnTo>
                    <a:lnTo>
                      <a:pt x="264055" y="559393"/>
                    </a:lnTo>
                    <a:lnTo>
                      <a:pt x="267744" y="570471"/>
                    </a:lnTo>
                    <a:lnTo>
                      <a:pt x="271433" y="574157"/>
                    </a:lnTo>
                    <a:lnTo>
                      <a:pt x="271433" y="570471"/>
                    </a:lnTo>
                    <a:lnTo>
                      <a:pt x="275122" y="570471"/>
                    </a:lnTo>
                    <a:lnTo>
                      <a:pt x="275122" y="574157"/>
                    </a:lnTo>
                    <a:lnTo>
                      <a:pt x="275122" y="581539"/>
                    </a:lnTo>
                    <a:lnTo>
                      <a:pt x="282500" y="585234"/>
                    </a:lnTo>
                    <a:lnTo>
                      <a:pt x="275122" y="588921"/>
                    </a:lnTo>
                    <a:lnTo>
                      <a:pt x="271433" y="588921"/>
                    </a:lnTo>
                    <a:lnTo>
                      <a:pt x="271433" y="596303"/>
                    </a:lnTo>
                    <a:lnTo>
                      <a:pt x="271433" y="603684"/>
                    </a:lnTo>
                    <a:lnTo>
                      <a:pt x="271433" y="607371"/>
                    </a:lnTo>
                    <a:lnTo>
                      <a:pt x="271433" y="611066"/>
                    </a:lnTo>
                    <a:lnTo>
                      <a:pt x="264055" y="611066"/>
                    </a:lnTo>
                    <a:lnTo>
                      <a:pt x="267744" y="614752"/>
                    </a:lnTo>
                    <a:lnTo>
                      <a:pt x="271433" y="614752"/>
                    </a:lnTo>
                    <a:lnTo>
                      <a:pt x="271433" y="618448"/>
                    </a:lnTo>
                    <a:lnTo>
                      <a:pt x="271433" y="625830"/>
                    </a:lnTo>
                    <a:lnTo>
                      <a:pt x="275122" y="625830"/>
                    </a:lnTo>
                    <a:lnTo>
                      <a:pt x="275122" y="640594"/>
                    </a:lnTo>
                    <a:lnTo>
                      <a:pt x="289879" y="636898"/>
                    </a:lnTo>
                    <a:lnTo>
                      <a:pt x="308326" y="629516"/>
                    </a:lnTo>
                    <a:lnTo>
                      <a:pt x="312015" y="629516"/>
                    </a:lnTo>
                    <a:lnTo>
                      <a:pt x="334150" y="633212"/>
                    </a:lnTo>
                    <a:lnTo>
                      <a:pt x="337839" y="633212"/>
                    </a:lnTo>
                    <a:lnTo>
                      <a:pt x="341528" y="633212"/>
                    </a:lnTo>
                    <a:lnTo>
                      <a:pt x="348906" y="633212"/>
                    </a:lnTo>
                    <a:lnTo>
                      <a:pt x="359974" y="611066"/>
                    </a:lnTo>
                    <a:lnTo>
                      <a:pt x="359974" y="603684"/>
                    </a:lnTo>
                    <a:lnTo>
                      <a:pt x="363663" y="596303"/>
                    </a:lnTo>
                    <a:lnTo>
                      <a:pt x="367352" y="585234"/>
                    </a:lnTo>
                    <a:lnTo>
                      <a:pt x="371041" y="577853"/>
                    </a:lnTo>
                    <a:lnTo>
                      <a:pt x="371041" y="574157"/>
                    </a:lnTo>
                    <a:lnTo>
                      <a:pt x="371041" y="570471"/>
                    </a:lnTo>
                    <a:lnTo>
                      <a:pt x="382106" y="548325"/>
                    </a:lnTo>
                    <a:lnTo>
                      <a:pt x="389488" y="552011"/>
                    </a:lnTo>
                    <a:lnTo>
                      <a:pt x="404242" y="552011"/>
                    </a:lnTo>
                    <a:lnTo>
                      <a:pt x="396870" y="544639"/>
                    </a:lnTo>
                    <a:lnTo>
                      <a:pt x="396870" y="540943"/>
                    </a:lnTo>
                    <a:lnTo>
                      <a:pt x="400556" y="537257"/>
                    </a:lnTo>
                    <a:lnTo>
                      <a:pt x="396870" y="537257"/>
                    </a:lnTo>
                    <a:lnTo>
                      <a:pt x="393174" y="537257"/>
                    </a:lnTo>
                    <a:lnTo>
                      <a:pt x="389488" y="533561"/>
                    </a:lnTo>
                    <a:lnTo>
                      <a:pt x="385802" y="533561"/>
                    </a:lnTo>
                    <a:lnTo>
                      <a:pt x="382106" y="529875"/>
                    </a:lnTo>
                    <a:lnTo>
                      <a:pt x="378420" y="529875"/>
                    </a:lnTo>
                    <a:lnTo>
                      <a:pt x="378420" y="526179"/>
                    </a:lnTo>
                    <a:lnTo>
                      <a:pt x="374730" y="522493"/>
                    </a:lnTo>
                    <a:lnTo>
                      <a:pt x="371041" y="526179"/>
                    </a:lnTo>
                    <a:lnTo>
                      <a:pt x="367352" y="526179"/>
                    </a:lnTo>
                    <a:lnTo>
                      <a:pt x="363663" y="526179"/>
                    </a:lnTo>
                    <a:lnTo>
                      <a:pt x="348906" y="526179"/>
                    </a:lnTo>
                    <a:lnTo>
                      <a:pt x="345217" y="529875"/>
                    </a:lnTo>
                    <a:lnTo>
                      <a:pt x="341528" y="529875"/>
                    </a:lnTo>
                    <a:lnTo>
                      <a:pt x="337839" y="533561"/>
                    </a:lnTo>
                    <a:lnTo>
                      <a:pt x="334150" y="533561"/>
                    </a:lnTo>
                    <a:lnTo>
                      <a:pt x="334150" y="529875"/>
                    </a:lnTo>
                    <a:lnTo>
                      <a:pt x="330460" y="529875"/>
                    </a:lnTo>
                    <a:lnTo>
                      <a:pt x="326771" y="526179"/>
                    </a:lnTo>
                    <a:lnTo>
                      <a:pt x="323082" y="522493"/>
                    </a:lnTo>
                    <a:lnTo>
                      <a:pt x="319393" y="515111"/>
                    </a:lnTo>
                    <a:lnTo>
                      <a:pt x="315704" y="515111"/>
                    </a:lnTo>
                    <a:lnTo>
                      <a:pt x="315704" y="511416"/>
                    </a:lnTo>
                    <a:lnTo>
                      <a:pt x="308326" y="511416"/>
                    </a:lnTo>
                    <a:lnTo>
                      <a:pt x="304636" y="511416"/>
                    </a:lnTo>
                    <a:lnTo>
                      <a:pt x="300947" y="504043"/>
                    </a:lnTo>
                    <a:lnTo>
                      <a:pt x="289879" y="504043"/>
                    </a:lnTo>
                    <a:lnTo>
                      <a:pt x="286190" y="504043"/>
                    </a:lnTo>
                    <a:lnTo>
                      <a:pt x="282500" y="504043"/>
                    </a:lnTo>
                    <a:lnTo>
                      <a:pt x="275122" y="507730"/>
                    </a:lnTo>
                    <a:lnTo>
                      <a:pt x="271433" y="504043"/>
                    </a:lnTo>
                    <a:lnTo>
                      <a:pt x="271433" y="507730"/>
                    </a:lnTo>
                    <a:lnTo>
                      <a:pt x="267744" y="507730"/>
                    </a:lnTo>
                    <a:lnTo>
                      <a:pt x="267744" y="504043"/>
                    </a:lnTo>
                    <a:lnTo>
                      <a:pt x="271433" y="504043"/>
                    </a:lnTo>
                    <a:lnTo>
                      <a:pt x="271433" y="500348"/>
                    </a:lnTo>
                    <a:lnTo>
                      <a:pt x="267744" y="496662"/>
                    </a:lnTo>
                    <a:lnTo>
                      <a:pt x="264055" y="496662"/>
                    </a:lnTo>
                    <a:lnTo>
                      <a:pt x="260365" y="500348"/>
                    </a:lnTo>
                    <a:lnTo>
                      <a:pt x="256676" y="500348"/>
                    </a:lnTo>
                    <a:lnTo>
                      <a:pt x="252987" y="500348"/>
                    </a:lnTo>
                    <a:lnTo>
                      <a:pt x="252987" y="496662"/>
                    </a:lnTo>
                    <a:lnTo>
                      <a:pt x="256676" y="496662"/>
                    </a:lnTo>
                    <a:lnTo>
                      <a:pt x="256676" y="492966"/>
                    </a:lnTo>
                    <a:lnTo>
                      <a:pt x="256676" y="489280"/>
                    </a:lnTo>
                    <a:lnTo>
                      <a:pt x="249298" y="485584"/>
                    </a:lnTo>
                    <a:lnTo>
                      <a:pt x="245609" y="485584"/>
                    </a:lnTo>
                    <a:lnTo>
                      <a:pt x="245609" y="489280"/>
                    </a:lnTo>
                    <a:lnTo>
                      <a:pt x="241920" y="489280"/>
                    </a:lnTo>
                    <a:lnTo>
                      <a:pt x="238230" y="485584"/>
                    </a:lnTo>
                    <a:lnTo>
                      <a:pt x="234541" y="485584"/>
                    </a:lnTo>
                    <a:lnTo>
                      <a:pt x="234541" y="481898"/>
                    </a:lnTo>
                    <a:lnTo>
                      <a:pt x="238230" y="481898"/>
                    </a:lnTo>
                    <a:lnTo>
                      <a:pt x="241920" y="481898"/>
                    </a:lnTo>
                    <a:lnTo>
                      <a:pt x="245609" y="478202"/>
                    </a:lnTo>
                    <a:lnTo>
                      <a:pt x="234541" y="470823"/>
                    </a:lnTo>
                    <a:lnTo>
                      <a:pt x="234541" y="467133"/>
                    </a:lnTo>
                    <a:lnTo>
                      <a:pt x="241920" y="470823"/>
                    </a:lnTo>
                    <a:lnTo>
                      <a:pt x="245609" y="474514"/>
                    </a:lnTo>
                    <a:lnTo>
                      <a:pt x="249298" y="474514"/>
                    </a:lnTo>
                    <a:lnTo>
                      <a:pt x="252987" y="470823"/>
                    </a:lnTo>
                    <a:lnTo>
                      <a:pt x="252987" y="474514"/>
                    </a:lnTo>
                    <a:lnTo>
                      <a:pt x="256676" y="478202"/>
                    </a:lnTo>
                    <a:lnTo>
                      <a:pt x="260365" y="474514"/>
                    </a:lnTo>
                    <a:lnTo>
                      <a:pt x="260365" y="470823"/>
                    </a:lnTo>
                    <a:lnTo>
                      <a:pt x="260365" y="467133"/>
                    </a:lnTo>
                    <a:lnTo>
                      <a:pt x="264055" y="467133"/>
                    </a:lnTo>
                    <a:lnTo>
                      <a:pt x="267744" y="463442"/>
                    </a:lnTo>
                    <a:lnTo>
                      <a:pt x="267744" y="456061"/>
                    </a:lnTo>
                    <a:lnTo>
                      <a:pt x="271433" y="452370"/>
                    </a:lnTo>
                    <a:lnTo>
                      <a:pt x="275122" y="448680"/>
                    </a:lnTo>
                    <a:lnTo>
                      <a:pt x="278811" y="444989"/>
                    </a:lnTo>
                    <a:lnTo>
                      <a:pt x="282500" y="444989"/>
                    </a:lnTo>
                    <a:lnTo>
                      <a:pt x="286190" y="444989"/>
                    </a:lnTo>
                    <a:lnTo>
                      <a:pt x="286190" y="441299"/>
                    </a:lnTo>
                    <a:lnTo>
                      <a:pt x="289879" y="437608"/>
                    </a:lnTo>
                    <a:lnTo>
                      <a:pt x="289879" y="433917"/>
                    </a:lnTo>
                    <a:lnTo>
                      <a:pt x="297258" y="426537"/>
                    </a:lnTo>
                    <a:lnTo>
                      <a:pt x="293568" y="426537"/>
                    </a:lnTo>
                    <a:lnTo>
                      <a:pt x="289879" y="426537"/>
                    </a:lnTo>
                    <a:lnTo>
                      <a:pt x="286190" y="422847"/>
                    </a:lnTo>
                    <a:lnTo>
                      <a:pt x="286190" y="426537"/>
                    </a:lnTo>
                    <a:lnTo>
                      <a:pt x="278811" y="422847"/>
                    </a:lnTo>
                    <a:lnTo>
                      <a:pt x="278811" y="419156"/>
                    </a:lnTo>
                    <a:lnTo>
                      <a:pt x="278811" y="415465"/>
                    </a:lnTo>
                    <a:lnTo>
                      <a:pt x="278811" y="411775"/>
                    </a:lnTo>
                    <a:lnTo>
                      <a:pt x="282500" y="408084"/>
                    </a:lnTo>
                    <a:lnTo>
                      <a:pt x="282500" y="404394"/>
                    </a:lnTo>
                    <a:lnTo>
                      <a:pt x="278811" y="404394"/>
                    </a:lnTo>
                    <a:lnTo>
                      <a:pt x="275122" y="408084"/>
                    </a:lnTo>
                    <a:lnTo>
                      <a:pt x="271433" y="404394"/>
                    </a:lnTo>
                    <a:lnTo>
                      <a:pt x="278811" y="400703"/>
                    </a:lnTo>
                    <a:lnTo>
                      <a:pt x="286190" y="400703"/>
                    </a:lnTo>
                    <a:lnTo>
                      <a:pt x="286190" y="397012"/>
                    </a:lnTo>
                    <a:lnTo>
                      <a:pt x="282500" y="393322"/>
                    </a:lnTo>
                    <a:lnTo>
                      <a:pt x="282500" y="389631"/>
                    </a:lnTo>
                    <a:lnTo>
                      <a:pt x="282500" y="385940"/>
                    </a:lnTo>
                    <a:lnTo>
                      <a:pt x="286190" y="382250"/>
                    </a:lnTo>
                    <a:lnTo>
                      <a:pt x="289879" y="385940"/>
                    </a:lnTo>
                    <a:lnTo>
                      <a:pt x="289879" y="382250"/>
                    </a:lnTo>
                    <a:lnTo>
                      <a:pt x="293568" y="378559"/>
                    </a:lnTo>
                    <a:lnTo>
                      <a:pt x="297258" y="371178"/>
                    </a:lnTo>
                    <a:lnTo>
                      <a:pt x="293568" y="371178"/>
                    </a:lnTo>
                    <a:lnTo>
                      <a:pt x="293568" y="363797"/>
                    </a:lnTo>
                    <a:lnTo>
                      <a:pt x="289879" y="363797"/>
                    </a:lnTo>
                    <a:lnTo>
                      <a:pt x="289879" y="360106"/>
                    </a:lnTo>
                    <a:lnTo>
                      <a:pt x="286190" y="356416"/>
                    </a:lnTo>
                    <a:lnTo>
                      <a:pt x="286190" y="352725"/>
                    </a:lnTo>
                    <a:lnTo>
                      <a:pt x="282500" y="345344"/>
                    </a:lnTo>
                    <a:lnTo>
                      <a:pt x="282500" y="341654"/>
                    </a:lnTo>
                    <a:lnTo>
                      <a:pt x="275122" y="330582"/>
                    </a:lnTo>
                    <a:lnTo>
                      <a:pt x="275122" y="326892"/>
                    </a:lnTo>
                    <a:lnTo>
                      <a:pt x="271433" y="323201"/>
                    </a:lnTo>
                    <a:lnTo>
                      <a:pt x="271433" y="315820"/>
                    </a:lnTo>
                    <a:lnTo>
                      <a:pt x="267744" y="308439"/>
                    </a:lnTo>
                    <a:lnTo>
                      <a:pt x="267744" y="304748"/>
                    </a:lnTo>
                    <a:lnTo>
                      <a:pt x="264055" y="301057"/>
                    </a:lnTo>
                    <a:lnTo>
                      <a:pt x="267744" y="297367"/>
                    </a:lnTo>
                    <a:lnTo>
                      <a:pt x="264055" y="293676"/>
                    </a:lnTo>
                    <a:lnTo>
                      <a:pt x="264055" y="289986"/>
                    </a:lnTo>
                    <a:lnTo>
                      <a:pt x="264055" y="286295"/>
                    </a:lnTo>
                    <a:lnTo>
                      <a:pt x="264055" y="282604"/>
                    </a:lnTo>
                    <a:lnTo>
                      <a:pt x="264055" y="275223"/>
                    </a:lnTo>
                    <a:lnTo>
                      <a:pt x="264055" y="271532"/>
                    </a:lnTo>
                    <a:lnTo>
                      <a:pt x="267744" y="271532"/>
                    </a:lnTo>
                    <a:lnTo>
                      <a:pt x="267744" y="267842"/>
                    </a:lnTo>
                    <a:lnTo>
                      <a:pt x="271433" y="267842"/>
                    </a:lnTo>
                    <a:lnTo>
                      <a:pt x="275122" y="264151"/>
                    </a:lnTo>
                    <a:lnTo>
                      <a:pt x="278811" y="264151"/>
                    </a:lnTo>
                    <a:lnTo>
                      <a:pt x="282500" y="264151"/>
                    </a:lnTo>
                    <a:lnTo>
                      <a:pt x="282500" y="267842"/>
                    </a:lnTo>
                    <a:lnTo>
                      <a:pt x="286190" y="271532"/>
                    </a:lnTo>
                    <a:lnTo>
                      <a:pt x="286190" y="267842"/>
                    </a:lnTo>
                    <a:lnTo>
                      <a:pt x="289879" y="264151"/>
                    </a:lnTo>
                    <a:lnTo>
                      <a:pt x="293568" y="264151"/>
                    </a:lnTo>
                    <a:lnTo>
                      <a:pt x="297258" y="264151"/>
                    </a:lnTo>
                    <a:lnTo>
                      <a:pt x="300947" y="264151"/>
                    </a:lnTo>
                    <a:lnTo>
                      <a:pt x="304636" y="267842"/>
                    </a:lnTo>
                    <a:lnTo>
                      <a:pt x="308326" y="271532"/>
                    </a:lnTo>
                    <a:lnTo>
                      <a:pt x="312015" y="271532"/>
                    </a:lnTo>
                    <a:lnTo>
                      <a:pt x="315704" y="275223"/>
                    </a:lnTo>
                    <a:lnTo>
                      <a:pt x="315704" y="278914"/>
                    </a:lnTo>
                    <a:lnTo>
                      <a:pt x="323082" y="278914"/>
                    </a:lnTo>
                    <a:lnTo>
                      <a:pt x="326771" y="278914"/>
                    </a:lnTo>
                    <a:lnTo>
                      <a:pt x="330460" y="278914"/>
                    </a:lnTo>
                    <a:lnTo>
                      <a:pt x="334150" y="275223"/>
                    </a:lnTo>
                    <a:lnTo>
                      <a:pt x="341528" y="267842"/>
                    </a:lnTo>
                    <a:lnTo>
                      <a:pt x="345217" y="267842"/>
                    </a:lnTo>
                    <a:lnTo>
                      <a:pt x="352595" y="267842"/>
                    </a:lnTo>
                    <a:lnTo>
                      <a:pt x="352595" y="264151"/>
                    </a:lnTo>
                    <a:lnTo>
                      <a:pt x="356285" y="260461"/>
                    </a:lnTo>
                    <a:lnTo>
                      <a:pt x="359974" y="260461"/>
                    </a:lnTo>
                    <a:lnTo>
                      <a:pt x="359974" y="256771"/>
                    </a:lnTo>
                    <a:lnTo>
                      <a:pt x="367352" y="253080"/>
                    </a:lnTo>
                    <a:lnTo>
                      <a:pt x="367352" y="249390"/>
                    </a:lnTo>
                    <a:lnTo>
                      <a:pt x="371041" y="245699"/>
                    </a:lnTo>
                    <a:lnTo>
                      <a:pt x="371041" y="238318"/>
                    </a:lnTo>
                    <a:lnTo>
                      <a:pt x="371041" y="234627"/>
                    </a:lnTo>
                    <a:lnTo>
                      <a:pt x="374730" y="227246"/>
                    </a:lnTo>
                    <a:lnTo>
                      <a:pt x="378420" y="227246"/>
                    </a:lnTo>
                    <a:lnTo>
                      <a:pt x="382106" y="227246"/>
                    </a:lnTo>
                    <a:lnTo>
                      <a:pt x="385802" y="227246"/>
                    </a:lnTo>
                    <a:lnTo>
                      <a:pt x="389488" y="223555"/>
                    </a:lnTo>
                    <a:lnTo>
                      <a:pt x="393174" y="223555"/>
                    </a:lnTo>
                    <a:lnTo>
                      <a:pt x="389488" y="219865"/>
                    </a:lnTo>
                    <a:lnTo>
                      <a:pt x="393174" y="219865"/>
                    </a:lnTo>
                    <a:lnTo>
                      <a:pt x="396870" y="216174"/>
                    </a:lnTo>
                    <a:lnTo>
                      <a:pt x="400556" y="212484"/>
                    </a:lnTo>
                    <a:lnTo>
                      <a:pt x="396870" y="208793"/>
                    </a:lnTo>
                    <a:lnTo>
                      <a:pt x="393174" y="205102"/>
                    </a:lnTo>
                    <a:lnTo>
                      <a:pt x="393174" y="201412"/>
                    </a:lnTo>
                    <a:lnTo>
                      <a:pt x="393174" y="197721"/>
                    </a:lnTo>
                    <a:lnTo>
                      <a:pt x="393174" y="194031"/>
                    </a:lnTo>
                    <a:lnTo>
                      <a:pt x="393174" y="190340"/>
                    </a:lnTo>
                    <a:lnTo>
                      <a:pt x="393174" y="186649"/>
                    </a:lnTo>
                    <a:lnTo>
                      <a:pt x="393174" y="182959"/>
                    </a:lnTo>
                    <a:lnTo>
                      <a:pt x="389488" y="182959"/>
                    </a:lnTo>
                    <a:lnTo>
                      <a:pt x="385802" y="179268"/>
                    </a:lnTo>
                    <a:lnTo>
                      <a:pt x="378420" y="175578"/>
                    </a:lnTo>
                    <a:lnTo>
                      <a:pt x="367352" y="175578"/>
                    </a:lnTo>
                    <a:lnTo>
                      <a:pt x="363663" y="175578"/>
                    </a:lnTo>
                    <a:lnTo>
                      <a:pt x="359974" y="171888"/>
                    </a:lnTo>
                    <a:lnTo>
                      <a:pt x="352595" y="171888"/>
                    </a:lnTo>
                    <a:lnTo>
                      <a:pt x="348906" y="171888"/>
                    </a:lnTo>
                    <a:lnTo>
                      <a:pt x="345217" y="179268"/>
                    </a:lnTo>
                    <a:lnTo>
                      <a:pt x="341528" y="182959"/>
                    </a:lnTo>
                    <a:lnTo>
                      <a:pt x="341528" y="186649"/>
                    </a:lnTo>
                    <a:lnTo>
                      <a:pt x="337839" y="182959"/>
                    </a:lnTo>
                    <a:lnTo>
                      <a:pt x="334150" y="182959"/>
                    </a:lnTo>
                    <a:lnTo>
                      <a:pt x="330460" y="182959"/>
                    </a:lnTo>
                    <a:lnTo>
                      <a:pt x="326771" y="182959"/>
                    </a:lnTo>
                    <a:lnTo>
                      <a:pt x="319393" y="175578"/>
                    </a:lnTo>
                    <a:lnTo>
                      <a:pt x="315704" y="171888"/>
                    </a:lnTo>
                    <a:lnTo>
                      <a:pt x="312015" y="168197"/>
                    </a:lnTo>
                    <a:lnTo>
                      <a:pt x="315704" y="160816"/>
                    </a:lnTo>
                    <a:lnTo>
                      <a:pt x="312015" y="160816"/>
                    </a:lnTo>
                    <a:lnTo>
                      <a:pt x="308326" y="157126"/>
                    </a:lnTo>
                    <a:lnTo>
                      <a:pt x="304636" y="157126"/>
                    </a:lnTo>
                    <a:lnTo>
                      <a:pt x="312015" y="101766"/>
                    </a:lnTo>
                    <a:lnTo>
                      <a:pt x="304636" y="90695"/>
                    </a:lnTo>
                    <a:lnTo>
                      <a:pt x="293568" y="68552"/>
                    </a:lnTo>
                    <a:lnTo>
                      <a:pt x="293568" y="64861"/>
                    </a:lnTo>
                    <a:lnTo>
                      <a:pt x="289879" y="61171"/>
                    </a:lnTo>
                    <a:lnTo>
                      <a:pt x="278811" y="39027"/>
                    </a:lnTo>
                    <a:lnTo>
                      <a:pt x="275122" y="39027"/>
                    </a:lnTo>
                    <a:lnTo>
                      <a:pt x="275122" y="31646"/>
                    </a:lnTo>
                    <a:lnTo>
                      <a:pt x="271433" y="27955"/>
                    </a:lnTo>
                    <a:lnTo>
                      <a:pt x="267744" y="27955"/>
                    </a:lnTo>
                    <a:lnTo>
                      <a:pt x="264055" y="31646"/>
                    </a:lnTo>
                    <a:lnTo>
                      <a:pt x="260365" y="31646"/>
                    </a:lnTo>
                    <a:lnTo>
                      <a:pt x="256676" y="27955"/>
                    </a:lnTo>
                    <a:lnTo>
                      <a:pt x="252987" y="27955"/>
                    </a:lnTo>
                    <a:lnTo>
                      <a:pt x="249298" y="31646"/>
                    </a:lnTo>
                    <a:lnTo>
                      <a:pt x="241920" y="31646"/>
                    </a:lnTo>
                    <a:lnTo>
                      <a:pt x="234541" y="39027"/>
                    </a:lnTo>
                    <a:lnTo>
                      <a:pt x="234541" y="42718"/>
                    </a:lnTo>
                    <a:lnTo>
                      <a:pt x="227163" y="53789"/>
                    </a:lnTo>
                    <a:lnTo>
                      <a:pt x="223474" y="53789"/>
                    </a:lnTo>
                    <a:lnTo>
                      <a:pt x="216096" y="57480"/>
                    </a:lnTo>
                    <a:lnTo>
                      <a:pt x="212406" y="61171"/>
                    </a:lnTo>
                    <a:lnTo>
                      <a:pt x="197650" y="68552"/>
                    </a:lnTo>
                    <a:lnTo>
                      <a:pt x="193961" y="64861"/>
                    </a:lnTo>
                    <a:lnTo>
                      <a:pt x="182893" y="57480"/>
                    </a:lnTo>
                    <a:lnTo>
                      <a:pt x="179204" y="57480"/>
                    </a:lnTo>
                    <a:lnTo>
                      <a:pt x="168136" y="50099"/>
                    </a:lnTo>
                    <a:lnTo>
                      <a:pt x="164447" y="46408"/>
                    </a:lnTo>
                    <a:lnTo>
                      <a:pt x="160758" y="42718"/>
                    </a:lnTo>
                    <a:lnTo>
                      <a:pt x="157069" y="35336"/>
                    </a:lnTo>
                    <a:lnTo>
                      <a:pt x="157069" y="27955"/>
                    </a:lnTo>
                    <a:lnTo>
                      <a:pt x="157069" y="20574"/>
                    </a:lnTo>
                    <a:lnTo>
                      <a:pt x="160758" y="13193"/>
                    </a:lnTo>
                    <a:lnTo>
                      <a:pt x="160758" y="9502"/>
                    </a:lnTo>
                    <a:lnTo>
                      <a:pt x="157069" y="9502"/>
                    </a:lnTo>
                    <a:lnTo>
                      <a:pt x="157069" y="13193"/>
                    </a:lnTo>
                    <a:lnTo>
                      <a:pt x="153380" y="13193"/>
                    </a:lnTo>
                    <a:lnTo>
                      <a:pt x="149690" y="13193"/>
                    </a:lnTo>
                    <a:lnTo>
                      <a:pt x="149690" y="9502"/>
                    </a:lnTo>
                    <a:lnTo>
                      <a:pt x="149690" y="5812"/>
                    </a:lnTo>
                    <a:lnTo>
                      <a:pt x="142312" y="5812"/>
                    </a:lnTo>
                    <a:lnTo>
                      <a:pt x="134933" y="5812"/>
                    </a:lnTo>
                    <a:lnTo>
                      <a:pt x="131244" y="5812"/>
                    </a:lnTo>
                    <a:lnTo>
                      <a:pt x="127555" y="5812"/>
                    </a:lnTo>
                    <a:close/>
                    <a:moveTo>
                      <a:pt x="160758" y="9502"/>
                    </a:moveTo>
                    <a:lnTo>
                      <a:pt x="160758" y="5812"/>
                    </a:lnTo>
                    <a:lnTo>
                      <a:pt x="157069" y="5812"/>
                    </a:lnTo>
                    <a:lnTo>
                      <a:pt x="160758" y="9502"/>
                    </a:lnTo>
                    <a:close/>
                    <a:moveTo>
                      <a:pt x="275122" y="31646"/>
                    </a:moveTo>
                    <a:lnTo>
                      <a:pt x="278811" y="35336"/>
                    </a:lnTo>
                    <a:lnTo>
                      <a:pt x="278811" y="27955"/>
                    </a:lnTo>
                    <a:lnTo>
                      <a:pt x="275122" y="27955"/>
                    </a:lnTo>
                    <a:lnTo>
                      <a:pt x="275122" y="31646"/>
                    </a:lnTo>
                    <a:close/>
                    <a:moveTo>
                      <a:pt x="241920" y="481898"/>
                    </a:moveTo>
                    <a:lnTo>
                      <a:pt x="241920" y="485584"/>
                    </a:lnTo>
                    <a:lnTo>
                      <a:pt x="245609" y="485584"/>
                    </a:lnTo>
                    <a:lnTo>
                      <a:pt x="241920" y="481898"/>
                    </a:lnTo>
                    <a:close/>
                    <a:moveTo>
                      <a:pt x="304636" y="400703"/>
                    </a:moveTo>
                    <a:lnTo>
                      <a:pt x="304636" y="404394"/>
                    </a:lnTo>
                    <a:lnTo>
                      <a:pt x="304636" y="408084"/>
                    </a:lnTo>
                    <a:lnTo>
                      <a:pt x="300947" y="415465"/>
                    </a:lnTo>
                    <a:lnTo>
                      <a:pt x="304636" y="415465"/>
                    </a:lnTo>
                    <a:lnTo>
                      <a:pt x="308326" y="411775"/>
                    </a:lnTo>
                    <a:lnTo>
                      <a:pt x="312015" y="411775"/>
                    </a:lnTo>
                    <a:lnTo>
                      <a:pt x="315704" y="408084"/>
                    </a:lnTo>
                    <a:lnTo>
                      <a:pt x="319393" y="408084"/>
                    </a:lnTo>
                    <a:lnTo>
                      <a:pt x="319393" y="404394"/>
                    </a:lnTo>
                    <a:lnTo>
                      <a:pt x="312015" y="408084"/>
                    </a:lnTo>
                    <a:lnTo>
                      <a:pt x="308326" y="404394"/>
                    </a:lnTo>
                    <a:lnTo>
                      <a:pt x="304636" y="400703"/>
                    </a:lnTo>
                    <a:close/>
                    <a:moveTo>
                      <a:pt x="404242" y="529875"/>
                    </a:moveTo>
                    <a:lnTo>
                      <a:pt x="404242" y="533561"/>
                    </a:lnTo>
                    <a:lnTo>
                      <a:pt x="407929" y="533561"/>
                    </a:lnTo>
                    <a:lnTo>
                      <a:pt x="404242" y="529875"/>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63" name="Google Shape;408;p2">
                <a:extLst>
                  <a:ext uri="{FF2B5EF4-FFF2-40B4-BE49-F238E27FC236}">
                    <a16:creationId xmlns:a16="http://schemas.microsoft.com/office/drawing/2014/main" id="{38E2CF63-D199-4E5D-89EE-243E4AA219DA}"/>
                  </a:ext>
                </a:extLst>
              </p:cNvPr>
              <p:cNvSpPr/>
              <p:nvPr/>
            </p:nvSpPr>
            <p:spPr>
              <a:xfrm>
                <a:off x="2603828" y="1749851"/>
                <a:ext cx="238260" cy="368220"/>
              </a:xfrm>
              <a:custGeom>
                <a:avLst/>
                <a:gdLst/>
                <a:ahLst/>
                <a:cxnLst/>
                <a:rect l="l" t="t" r="r" b="b"/>
                <a:pathLst>
                  <a:path w="104775" h="161925" extrusionOk="0">
                    <a:moveTo>
                      <a:pt x="79596" y="116528"/>
                    </a:moveTo>
                    <a:lnTo>
                      <a:pt x="72217" y="123909"/>
                    </a:lnTo>
                    <a:lnTo>
                      <a:pt x="68528" y="127600"/>
                    </a:lnTo>
                    <a:lnTo>
                      <a:pt x="64839" y="127600"/>
                    </a:lnTo>
                    <a:lnTo>
                      <a:pt x="61150" y="127600"/>
                    </a:lnTo>
                    <a:lnTo>
                      <a:pt x="57460" y="127600"/>
                    </a:lnTo>
                    <a:lnTo>
                      <a:pt x="46393" y="142362"/>
                    </a:lnTo>
                    <a:lnTo>
                      <a:pt x="46393" y="146053"/>
                    </a:lnTo>
                    <a:lnTo>
                      <a:pt x="46393" y="146053"/>
                    </a:lnTo>
                    <a:lnTo>
                      <a:pt x="46393" y="149743"/>
                    </a:lnTo>
                    <a:lnTo>
                      <a:pt x="42704" y="149743"/>
                    </a:lnTo>
                    <a:lnTo>
                      <a:pt x="39015" y="149743"/>
                    </a:lnTo>
                    <a:lnTo>
                      <a:pt x="35325" y="146053"/>
                    </a:lnTo>
                    <a:lnTo>
                      <a:pt x="27947" y="142362"/>
                    </a:lnTo>
                    <a:lnTo>
                      <a:pt x="24258" y="142362"/>
                    </a:lnTo>
                    <a:lnTo>
                      <a:pt x="27947" y="146053"/>
                    </a:lnTo>
                    <a:lnTo>
                      <a:pt x="31636" y="149743"/>
                    </a:lnTo>
                    <a:lnTo>
                      <a:pt x="31636" y="149743"/>
                    </a:lnTo>
                    <a:lnTo>
                      <a:pt x="35325" y="153434"/>
                    </a:lnTo>
                    <a:lnTo>
                      <a:pt x="39015" y="153434"/>
                    </a:lnTo>
                    <a:lnTo>
                      <a:pt x="31636" y="153434"/>
                    </a:lnTo>
                    <a:lnTo>
                      <a:pt x="31636" y="153434"/>
                    </a:lnTo>
                    <a:lnTo>
                      <a:pt x="31636" y="157125"/>
                    </a:lnTo>
                    <a:lnTo>
                      <a:pt x="31636" y="157125"/>
                    </a:lnTo>
                    <a:lnTo>
                      <a:pt x="31636" y="157125"/>
                    </a:lnTo>
                    <a:lnTo>
                      <a:pt x="24258" y="157125"/>
                    </a:lnTo>
                    <a:lnTo>
                      <a:pt x="20569" y="157125"/>
                    </a:lnTo>
                    <a:lnTo>
                      <a:pt x="24258" y="157125"/>
                    </a:lnTo>
                    <a:lnTo>
                      <a:pt x="20569" y="160815"/>
                    </a:lnTo>
                    <a:lnTo>
                      <a:pt x="16880" y="160815"/>
                    </a:lnTo>
                    <a:lnTo>
                      <a:pt x="13191" y="164506"/>
                    </a:lnTo>
                    <a:lnTo>
                      <a:pt x="9501" y="164506"/>
                    </a:lnTo>
                    <a:lnTo>
                      <a:pt x="9501" y="160815"/>
                    </a:lnTo>
                    <a:lnTo>
                      <a:pt x="9501" y="153434"/>
                    </a:lnTo>
                    <a:lnTo>
                      <a:pt x="5812" y="138672"/>
                    </a:lnTo>
                    <a:lnTo>
                      <a:pt x="5812" y="131290"/>
                    </a:lnTo>
                    <a:lnTo>
                      <a:pt x="5812" y="127600"/>
                    </a:lnTo>
                    <a:lnTo>
                      <a:pt x="9501" y="116528"/>
                    </a:lnTo>
                    <a:lnTo>
                      <a:pt x="9501" y="112837"/>
                    </a:lnTo>
                    <a:lnTo>
                      <a:pt x="9501" y="112837"/>
                    </a:lnTo>
                    <a:lnTo>
                      <a:pt x="13191" y="101766"/>
                    </a:lnTo>
                    <a:lnTo>
                      <a:pt x="16880" y="90695"/>
                    </a:lnTo>
                    <a:lnTo>
                      <a:pt x="20569" y="79623"/>
                    </a:lnTo>
                    <a:lnTo>
                      <a:pt x="24258" y="75932"/>
                    </a:lnTo>
                    <a:lnTo>
                      <a:pt x="31636" y="64860"/>
                    </a:lnTo>
                    <a:lnTo>
                      <a:pt x="39015" y="50098"/>
                    </a:lnTo>
                    <a:lnTo>
                      <a:pt x="50082" y="39026"/>
                    </a:lnTo>
                    <a:lnTo>
                      <a:pt x="50082" y="39026"/>
                    </a:lnTo>
                    <a:lnTo>
                      <a:pt x="50082" y="39026"/>
                    </a:lnTo>
                    <a:lnTo>
                      <a:pt x="50082" y="42717"/>
                    </a:lnTo>
                    <a:lnTo>
                      <a:pt x="50082" y="46407"/>
                    </a:lnTo>
                    <a:lnTo>
                      <a:pt x="53771" y="42717"/>
                    </a:lnTo>
                    <a:lnTo>
                      <a:pt x="53771" y="42717"/>
                    </a:lnTo>
                    <a:lnTo>
                      <a:pt x="53771" y="42717"/>
                    </a:lnTo>
                    <a:lnTo>
                      <a:pt x="57460" y="39026"/>
                    </a:lnTo>
                    <a:lnTo>
                      <a:pt x="57460" y="39026"/>
                    </a:lnTo>
                    <a:lnTo>
                      <a:pt x="61150" y="35336"/>
                    </a:lnTo>
                    <a:lnTo>
                      <a:pt x="64839" y="35336"/>
                    </a:lnTo>
                    <a:lnTo>
                      <a:pt x="64839" y="39026"/>
                    </a:lnTo>
                    <a:lnTo>
                      <a:pt x="64839" y="35336"/>
                    </a:lnTo>
                    <a:lnTo>
                      <a:pt x="64839" y="35336"/>
                    </a:lnTo>
                    <a:lnTo>
                      <a:pt x="61150" y="35336"/>
                    </a:lnTo>
                    <a:lnTo>
                      <a:pt x="61150" y="31645"/>
                    </a:lnTo>
                    <a:lnTo>
                      <a:pt x="57460" y="35336"/>
                    </a:lnTo>
                    <a:lnTo>
                      <a:pt x="57460" y="35336"/>
                    </a:lnTo>
                    <a:lnTo>
                      <a:pt x="50082" y="39026"/>
                    </a:lnTo>
                    <a:lnTo>
                      <a:pt x="50082" y="39026"/>
                    </a:lnTo>
                    <a:lnTo>
                      <a:pt x="61150" y="16882"/>
                    </a:lnTo>
                    <a:lnTo>
                      <a:pt x="64839" y="13193"/>
                    </a:lnTo>
                    <a:lnTo>
                      <a:pt x="72217" y="9502"/>
                    </a:lnTo>
                    <a:lnTo>
                      <a:pt x="72217" y="5812"/>
                    </a:lnTo>
                    <a:lnTo>
                      <a:pt x="75906" y="5812"/>
                    </a:lnTo>
                    <a:lnTo>
                      <a:pt x="79596" y="5812"/>
                    </a:lnTo>
                    <a:lnTo>
                      <a:pt x="79596" y="5812"/>
                    </a:lnTo>
                    <a:lnTo>
                      <a:pt x="83285" y="9502"/>
                    </a:lnTo>
                    <a:lnTo>
                      <a:pt x="86974" y="13193"/>
                    </a:lnTo>
                    <a:lnTo>
                      <a:pt x="86974" y="16882"/>
                    </a:lnTo>
                    <a:lnTo>
                      <a:pt x="86974" y="20573"/>
                    </a:lnTo>
                    <a:lnTo>
                      <a:pt x="90663" y="20573"/>
                    </a:lnTo>
                    <a:lnTo>
                      <a:pt x="86974" y="20573"/>
                    </a:lnTo>
                    <a:lnTo>
                      <a:pt x="86974" y="20573"/>
                    </a:lnTo>
                    <a:lnTo>
                      <a:pt x="86974" y="24264"/>
                    </a:lnTo>
                    <a:lnTo>
                      <a:pt x="90663" y="27954"/>
                    </a:lnTo>
                    <a:lnTo>
                      <a:pt x="90663" y="27954"/>
                    </a:lnTo>
                    <a:lnTo>
                      <a:pt x="94352" y="31645"/>
                    </a:lnTo>
                    <a:lnTo>
                      <a:pt x="101730" y="42717"/>
                    </a:lnTo>
                    <a:lnTo>
                      <a:pt x="101730" y="46407"/>
                    </a:lnTo>
                    <a:lnTo>
                      <a:pt x="101730" y="46407"/>
                    </a:lnTo>
                    <a:lnTo>
                      <a:pt x="101730" y="46407"/>
                    </a:lnTo>
                    <a:lnTo>
                      <a:pt x="101730" y="46407"/>
                    </a:lnTo>
                    <a:lnTo>
                      <a:pt x="98041" y="50098"/>
                    </a:lnTo>
                    <a:lnTo>
                      <a:pt x="98041" y="72242"/>
                    </a:lnTo>
                    <a:lnTo>
                      <a:pt x="98041" y="83313"/>
                    </a:lnTo>
                    <a:lnTo>
                      <a:pt x="98041" y="87004"/>
                    </a:lnTo>
                    <a:lnTo>
                      <a:pt x="94352" y="94385"/>
                    </a:lnTo>
                    <a:lnTo>
                      <a:pt x="90663" y="94385"/>
                    </a:lnTo>
                    <a:lnTo>
                      <a:pt x="86974" y="98075"/>
                    </a:lnTo>
                    <a:lnTo>
                      <a:pt x="86974" y="98075"/>
                    </a:lnTo>
                    <a:lnTo>
                      <a:pt x="86974" y="98075"/>
                    </a:lnTo>
                    <a:lnTo>
                      <a:pt x="86974" y="105456"/>
                    </a:lnTo>
                    <a:lnTo>
                      <a:pt x="79596" y="112837"/>
                    </a:lnTo>
                    <a:lnTo>
                      <a:pt x="79596" y="116528"/>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grpSp>
        <p:sp>
          <p:nvSpPr>
            <p:cNvPr id="14" name="Google Shape;409;p2">
              <a:extLst>
                <a:ext uri="{FF2B5EF4-FFF2-40B4-BE49-F238E27FC236}">
                  <a16:creationId xmlns:a16="http://schemas.microsoft.com/office/drawing/2014/main" id="{D8000E7D-BFE2-4356-AD1F-D8A41B6E3070}"/>
                </a:ext>
              </a:extLst>
            </p:cNvPr>
            <p:cNvSpPr/>
            <p:nvPr/>
          </p:nvSpPr>
          <p:spPr>
            <a:xfrm>
              <a:off x="2972955" y="2085547"/>
              <a:ext cx="151620" cy="129960"/>
            </a:xfrm>
            <a:custGeom>
              <a:avLst/>
              <a:gdLst/>
              <a:ahLst/>
              <a:cxnLst/>
              <a:rect l="l" t="t" r="r" b="b"/>
              <a:pathLst>
                <a:path w="66675" h="57150" extrusionOk="0">
                  <a:moveTo>
                    <a:pt x="64839" y="5812"/>
                  </a:moveTo>
                  <a:lnTo>
                    <a:pt x="64839" y="5812"/>
                  </a:lnTo>
                  <a:lnTo>
                    <a:pt x="13191" y="50098"/>
                  </a:lnTo>
                  <a:lnTo>
                    <a:pt x="9501" y="53789"/>
                  </a:lnTo>
                  <a:lnTo>
                    <a:pt x="5812" y="53789"/>
                  </a:lnTo>
                  <a:lnTo>
                    <a:pt x="5812" y="50098"/>
                  </a:lnTo>
                  <a:lnTo>
                    <a:pt x="13191" y="50098"/>
                  </a:lnTo>
                  <a:lnTo>
                    <a:pt x="64839"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15" name="Google Shape;410;p2">
              <a:extLst>
                <a:ext uri="{FF2B5EF4-FFF2-40B4-BE49-F238E27FC236}">
                  <a16:creationId xmlns:a16="http://schemas.microsoft.com/office/drawing/2014/main" id="{0643FDD4-F59E-49E7-A7D2-61FD921D0285}"/>
                </a:ext>
              </a:extLst>
            </p:cNvPr>
            <p:cNvSpPr/>
            <p:nvPr/>
          </p:nvSpPr>
          <p:spPr>
            <a:xfrm>
              <a:off x="3551808" y="4292738"/>
              <a:ext cx="758098" cy="1862757"/>
            </a:xfrm>
            <a:custGeom>
              <a:avLst/>
              <a:gdLst/>
              <a:ahLst/>
              <a:cxnLst/>
              <a:rect l="l" t="t" r="r" b="b"/>
              <a:pathLst>
                <a:path w="333375" h="819150" extrusionOk="0">
                  <a:moveTo>
                    <a:pt x="153382" y="5812"/>
                  </a:moveTo>
                  <a:lnTo>
                    <a:pt x="149696" y="9507"/>
                  </a:lnTo>
                  <a:lnTo>
                    <a:pt x="153382" y="13193"/>
                  </a:lnTo>
                  <a:lnTo>
                    <a:pt x="153382" y="16889"/>
                  </a:lnTo>
                  <a:lnTo>
                    <a:pt x="153382" y="20575"/>
                  </a:lnTo>
                  <a:lnTo>
                    <a:pt x="149696" y="20575"/>
                  </a:lnTo>
                  <a:lnTo>
                    <a:pt x="153382" y="24271"/>
                  </a:lnTo>
                  <a:lnTo>
                    <a:pt x="157069" y="24271"/>
                  </a:lnTo>
                  <a:lnTo>
                    <a:pt x="157069" y="27957"/>
                  </a:lnTo>
                  <a:lnTo>
                    <a:pt x="157069" y="31653"/>
                  </a:lnTo>
                  <a:lnTo>
                    <a:pt x="160755" y="39025"/>
                  </a:lnTo>
                  <a:lnTo>
                    <a:pt x="160755" y="46407"/>
                  </a:lnTo>
                  <a:lnTo>
                    <a:pt x="164450" y="50103"/>
                  </a:lnTo>
                  <a:lnTo>
                    <a:pt x="171823" y="50103"/>
                  </a:lnTo>
                  <a:lnTo>
                    <a:pt x="179205" y="53789"/>
                  </a:lnTo>
                  <a:lnTo>
                    <a:pt x="186587" y="53789"/>
                  </a:lnTo>
                  <a:lnTo>
                    <a:pt x="190273" y="57485"/>
                  </a:lnTo>
                  <a:lnTo>
                    <a:pt x="193959" y="57485"/>
                  </a:lnTo>
                  <a:lnTo>
                    <a:pt x="197655" y="68553"/>
                  </a:lnTo>
                  <a:lnTo>
                    <a:pt x="197655" y="75935"/>
                  </a:lnTo>
                  <a:lnTo>
                    <a:pt x="197655" y="79630"/>
                  </a:lnTo>
                  <a:lnTo>
                    <a:pt x="201341" y="79630"/>
                  </a:lnTo>
                  <a:lnTo>
                    <a:pt x="201341" y="87003"/>
                  </a:lnTo>
                  <a:lnTo>
                    <a:pt x="201341" y="90698"/>
                  </a:lnTo>
                  <a:lnTo>
                    <a:pt x="201341" y="94384"/>
                  </a:lnTo>
                  <a:lnTo>
                    <a:pt x="201341" y="105462"/>
                  </a:lnTo>
                  <a:lnTo>
                    <a:pt x="205027" y="109148"/>
                  </a:lnTo>
                  <a:lnTo>
                    <a:pt x="205027" y="112844"/>
                  </a:lnTo>
                  <a:lnTo>
                    <a:pt x="216095" y="116530"/>
                  </a:lnTo>
                  <a:lnTo>
                    <a:pt x="219791" y="120226"/>
                  </a:lnTo>
                  <a:lnTo>
                    <a:pt x="223477" y="123912"/>
                  </a:lnTo>
                  <a:lnTo>
                    <a:pt x="227163" y="127608"/>
                  </a:lnTo>
                  <a:lnTo>
                    <a:pt x="227163" y="131294"/>
                  </a:lnTo>
                  <a:lnTo>
                    <a:pt x="230859" y="134980"/>
                  </a:lnTo>
                  <a:lnTo>
                    <a:pt x="230859" y="146058"/>
                  </a:lnTo>
                  <a:lnTo>
                    <a:pt x="230859" y="149744"/>
                  </a:lnTo>
                  <a:lnTo>
                    <a:pt x="234545" y="153439"/>
                  </a:lnTo>
                  <a:lnTo>
                    <a:pt x="238231" y="160821"/>
                  </a:lnTo>
                  <a:lnTo>
                    <a:pt x="238231" y="164508"/>
                  </a:lnTo>
                  <a:lnTo>
                    <a:pt x="238231" y="168203"/>
                  </a:lnTo>
                  <a:lnTo>
                    <a:pt x="238231" y="171890"/>
                  </a:lnTo>
                  <a:lnTo>
                    <a:pt x="238231" y="175585"/>
                  </a:lnTo>
                  <a:lnTo>
                    <a:pt x="241917" y="179271"/>
                  </a:lnTo>
                  <a:lnTo>
                    <a:pt x="238231" y="179271"/>
                  </a:lnTo>
                  <a:lnTo>
                    <a:pt x="234545" y="179271"/>
                  </a:lnTo>
                  <a:lnTo>
                    <a:pt x="234545" y="182957"/>
                  </a:lnTo>
                  <a:lnTo>
                    <a:pt x="227163" y="175585"/>
                  </a:lnTo>
                  <a:lnTo>
                    <a:pt x="223477" y="171890"/>
                  </a:lnTo>
                  <a:lnTo>
                    <a:pt x="219791" y="171890"/>
                  </a:lnTo>
                  <a:lnTo>
                    <a:pt x="219791" y="168203"/>
                  </a:lnTo>
                  <a:lnTo>
                    <a:pt x="212409" y="171890"/>
                  </a:lnTo>
                  <a:lnTo>
                    <a:pt x="205027" y="175585"/>
                  </a:lnTo>
                  <a:lnTo>
                    <a:pt x="193959" y="179271"/>
                  </a:lnTo>
                  <a:lnTo>
                    <a:pt x="186587" y="182957"/>
                  </a:lnTo>
                  <a:lnTo>
                    <a:pt x="179205" y="182957"/>
                  </a:lnTo>
                  <a:lnTo>
                    <a:pt x="171823" y="182957"/>
                  </a:lnTo>
                  <a:lnTo>
                    <a:pt x="164450" y="179271"/>
                  </a:lnTo>
                  <a:lnTo>
                    <a:pt x="153382" y="175585"/>
                  </a:lnTo>
                  <a:lnTo>
                    <a:pt x="138628" y="171890"/>
                  </a:lnTo>
                  <a:lnTo>
                    <a:pt x="142314" y="205103"/>
                  </a:lnTo>
                  <a:lnTo>
                    <a:pt x="146000" y="216181"/>
                  </a:lnTo>
                  <a:lnTo>
                    <a:pt x="146000" y="223563"/>
                  </a:lnTo>
                  <a:lnTo>
                    <a:pt x="149696" y="230935"/>
                  </a:lnTo>
                  <a:lnTo>
                    <a:pt x="157069" y="264158"/>
                  </a:lnTo>
                  <a:lnTo>
                    <a:pt x="157069" y="267844"/>
                  </a:lnTo>
                  <a:lnTo>
                    <a:pt x="171823" y="293676"/>
                  </a:lnTo>
                  <a:lnTo>
                    <a:pt x="179205" y="308440"/>
                  </a:lnTo>
                  <a:lnTo>
                    <a:pt x="186587" y="319517"/>
                  </a:lnTo>
                  <a:lnTo>
                    <a:pt x="179205" y="323204"/>
                  </a:lnTo>
                  <a:lnTo>
                    <a:pt x="168137" y="334272"/>
                  </a:lnTo>
                  <a:lnTo>
                    <a:pt x="160755" y="341654"/>
                  </a:lnTo>
                  <a:lnTo>
                    <a:pt x="157069" y="341654"/>
                  </a:lnTo>
                  <a:lnTo>
                    <a:pt x="153382" y="345349"/>
                  </a:lnTo>
                  <a:lnTo>
                    <a:pt x="149696" y="345349"/>
                  </a:lnTo>
                  <a:lnTo>
                    <a:pt x="138628" y="349035"/>
                  </a:lnTo>
                  <a:lnTo>
                    <a:pt x="109110" y="356417"/>
                  </a:lnTo>
                  <a:lnTo>
                    <a:pt x="105424" y="360113"/>
                  </a:lnTo>
                  <a:lnTo>
                    <a:pt x="101728" y="360113"/>
                  </a:lnTo>
                  <a:lnTo>
                    <a:pt x="94356" y="363799"/>
                  </a:lnTo>
                  <a:lnTo>
                    <a:pt x="75906" y="367495"/>
                  </a:lnTo>
                  <a:lnTo>
                    <a:pt x="72220" y="367495"/>
                  </a:lnTo>
                  <a:lnTo>
                    <a:pt x="57466" y="374867"/>
                  </a:lnTo>
                  <a:lnTo>
                    <a:pt x="46398" y="385945"/>
                  </a:lnTo>
                  <a:lnTo>
                    <a:pt x="42702" y="393327"/>
                  </a:lnTo>
                  <a:lnTo>
                    <a:pt x="35330" y="408090"/>
                  </a:lnTo>
                  <a:lnTo>
                    <a:pt x="31634" y="426540"/>
                  </a:lnTo>
                  <a:lnTo>
                    <a:pt x="31634" y="441304"/>
                  </a:lnTo>
                  <a:lnTo>
                    <a:pt x="20566" y="444990"/>
                  </a:lnTo>
                  <a:lnTo>
                    <a:pt x="16880" y="444990"/>
                  </a:lnTo>
                  <a:lnTo>
                    <a:pt x="5812" y="448686"/>
                  </a:lnTo>
                  <a:lnTo>
                    <a:pt x="13193" y="452372"/>
                  </a:lnTo>
                  <a:lnTo>
                    <a:pt x="42702" y="463450"/>
                  </a:lnTo>
                  <a:lnTo>
                    <a:pt x="46398" y="467136"/>
                  </a:lnTo>
                  <a:lnTo>
                    <a:pt x="46398" y="470822"/>
                  </a:lnTo>
                  <a:lnTo>
                    <a:pt x="50084" y="478204"/>
                  </a:lnTo>
                  <a:lnTo>
                    <a:pt x="53770" y="474518"/>
                  </a:lnTo>
                  <a:lnTo>
                    <a:pt x="57466" y="478204"/>
                  </a:lnTo>
                  <a:lnTo>
                    <a:pt x="61152" y="478204"/>
                  </a:lnTo>
                  <a:lnTo>
                    <a:pt x="64838" y="478204"/>
                  </a:lnTo>
                  <a:lnTo>
                    <a:pt x="72220" y="478204"/>
                  </a:lnTo>
                  <a:lnTo>
                    <a:pt x="75906" y="478204"/>
                  </a:lnTo>
                  <a:lnTo>
                    <a:pt x="79602" y="478204"/>
                  </a:lnTo>
                  <a:lnTo>
                    <a:pt x="86974" y="478204"/>
                  </a:lnTo>
                  <a:lnTo>
                    <a:pt x="90660" y="474518"/>
                  </a:lnTo>
                  <a:lnTo>
                    <a:pt x="94356" y="474518"/>
                  </a:lnTo>
                  <a:lnTo>
                    <a:pt x="98042" y="478204"/>
                  </a:lnTo>
                  <a:lnTo>
                    <a:pt x="105424" y="478204"/>
                  </a:lnTo>
                  <a:lnTo>
                    <a:pt x="109110" y="481900"/>
                  </a:lnTo>
                  <a:lnTo>
                    <a:pt x="109110" y="485586"/>
                  </a:lnTo>
                  <a:lnTo>
                    <a:pt x="112796" y="485586"/>
                  </a:lnTo>
                  <a:lnTo>
                    <a:pt x="109110" y="489281"/>
                  </a:lnTo>
                  <a:lnTo>
                    <a:pt x="105424" y="489281"/>
                  </a:lnTo>
                  <a:lnTo>
                    <a:pt x="105424" y="492968"/>
                  </a:lnTo>
                  <a:lnTo>
                    <a:pt x="109110" y="492968"/>
                  </a:lnTo>
                  <a:lnTo>
                    <a:pt x="109110" y="496663"/>
                  </a:lnTo>
                  <a:lnTo>
                    <a:pt x="109110" y="500350"/>
                  </a:lnTo>
                  <a:lnTo>
                    <a:pt x="109110" y="504045"/>
                  </a:lnTo>
                  <a:lnTo>
                    <a:pt x="112796" y="504045"/>
                  </a:lnTo>
                  <a:lnTo>
                    <a:pt x="112796" y="500350"/>
                  </a:lnTo>
                  <a:lnTo>
                    <a:pt x="116492" y="500350"/>
                  </a:lnTo>
                  <a:lnTo>
                    <a:pt x="120178" y="500350"/>
                  </a:lnTo>
                  <a:lnTo>
                    <a:pt x="120178" y="496663"/>
                  </a:lnTo>
                  <a:lnTo>
                    <a:pt x="123864" y="496663"/>
                  </a:lnTo>
                  <a:lnTo>
                    <a:pt x="127560" y="496663"/>
                  </a:lnTo>
                  <a:lnTo>
                    <a:pt x="127560" y="492968"/>
                  </a:lnTo>
                  <a:lnTo>
                    <a:pt x="134933" y="489281"/>
                  </a:lnTo>
                  <a:lnTo>
                    <a:pt x="134933" y="492968"/>
                  </a:lnTo>
                  <a:lnTo>
                    <a:pt x="138628" y="492968"/>
                  </a:lnTo>
                  <a:lnTo>
                    <a:pt x="138628" y="500350"/>
                  </a:lnTo>
                  <a:lnTo>
                    <a:pt x="149696" y="507731"/>
                  </a:lnTo>
                  <a:lnTo>
                    <a:pt x="146000" y="511427"/>
                  </a:lnTo>
                  <a:lnTo>
                    <a:pt x="142314" y="515113"/>
                  </a:lnTo>
                  <a:lnTo>
                    <a:pt x="142314" y="518799"/>
                  </a:lnTo>
                  <a:lnTo>
                    <a:pt x="134933" y="522495"/>
                  </a:lnTo>
                  <a:lnTo>
                    <a:pt x="131246" y="522495"/>
                  </a:lnTo>
                  <a:lnTo>
                    <a:pt x="131246" y="526181"/>
                  </a:lnTo>
                  <a:lnTo>
                    <a:pt x="127560" y="529877"/>
                  </a:lnTo>
                  <a:lnTo>
                    <a:pt x="123864" y="533563"/>
                  </a:lnTo>
                  <a:lnTo>
                    <a:pt x="127560" y="537259"/>
                  </a:lnTo>
                  <a:lnTo>
                    <a:pt x="134933" y="537259"/>
                  </a:lnTo>
                  <a:lnTo>
                    <a:pt x="138628" y="540945"/>
                  </a:lnTo>
                  <a:lnTo>
                    <a:pt x="138628" y="544641"/>
                  </a:lnTo>
                  <a:lnTo>
                    <a:pt x="134933" y="548327"/>
                  </a:lnTo>
                  <a:lnTo>
                    <a:pt x="134933" y="552023"/>
                  </a:lnTo>
                  <a:lnTo>
                    <a:pt x="131246" y="552023"/>
                  </a:lnTo>
                  <a:lnTo>
                    <a:pt x="127560" y="548327"/>
                  </a:lnTo>
                  <a:lnTo>
                    <a:pt x="123864" y="548327"/>
                  </a:lnTo>
                  <a:lnTo>
                    <a:pt x="120178" y="548327"/>
                  </a:lnTo>
                  <a:lnTo>
                    <a:pt x="120178" y="552023"/>
                  </a:lnTo>
                  <a:lnTo>
                    <a:pt x="120178" y="555709"/>
                  </a:lnTo>
                  <a:lnTo>
                    <a:pt x="123864" y="559395"/>
                  </a:lnTo>
                  <a:lnTo>
                    <a:pt x="123864" y="563091"/>
                  </a:lnTo>
                  <a:lnTo>
                    <a:pt x="120178" y="563091"/>
                  </a:lnTo>
                  <a:lnTo>
                    <a:pt x="120178" y="566777"/>
                  </a:lnTo>
                  <a:lnTo>
                    <a:pt x="123864" y="574159"/>
                  </a:lnTo>
                  <a:lnTo>
                    <a:pt x="120178" y="574159"/>
                  </a:lnTo>
                  <a:lnTo>
                    <a:pt x="120178" y="577854"/>
                  </a:lnTo>
                  <a:lnTo>
                    <a:pt x="116492" y="577854"/>
                  </a:lnTo>
                  <a:lnTo>
                    <a:pt x="109110" y="574159"/>
                  </a:lnTo>
                  <a:lnTo>
                    <a:pt x="105424" y="585236"/>
                  </a:lnTo>
                  <a:lnTo>
                    <a:pt x="105424" y="592618"/>
                  </a:lnTo>
                  <a:lnTo>
                    <a:pt x="101728" y="596304"/>
                  </a:lnTo>
                  <a:lnTo>
                    <a:pt x="101728" y="600000"/>
                  </a:lnTo>
                  <a:lnTo>
                    <a:pt x="105424" y="600000"/>
                  </a:lnTo>
                  <a:lnTo>
                    <a:pt x="109110" y="603686"/>
                  </a:lnTo>
                  <a:lnTo>
                    <a:pt x="109110" y="607373"/>
                  </a:lnTo>
                  <a:lnTo>
                    <a:pt x="105424" y="614754"/>
                  </a:lnTo>
                  <a:lnTo>
                    <a:pt x="105424" y="618450"/>
                  </a:lnTo>
                  <a:lnTo>
                    <a:pt x="105424" y="622136"/>
                  </a:lnTo>
                  <a:lnTo>
                    <a:pt x="105424" y="625832"/>
                  </a:lnTo>
                  <a:lnTo>
                    <a:pt x="101728" y="629518"/>
                  </a:lnTo>
                  <a:lnTo>
                    <a:pt x="98042" y="633214"/>
                  </a:lnTo>
                  <a:lnTo>
                    <a:pt x="94356" y="640596"/>
                  </a:lnTo>
                  <a:lnTo>
                    <a:pt x="90660" y="640596"/>
                  </a:lnTo>
                  <a:lnTo>
                    <a:pt x="86974" y="647977"/>
                  </a:lnTo>
                  <a:lnTo>
                    <a:pt x="83288" y="655350"/>
                  </a:lnTo>
                  <a:lnTo>
                    <a:pt x="83288" y="659046"/>
                  </a:lnTo>
                  <a:lnTo>
                    <a:pt x="86974" y="659046"/>
                  </a:lnTo>
                  <a:lnTo>
                    <a:pt x="90660" y="659046"/>
                  </a:lnTo>
                  <a:lnTo>
                    <a:pt x="94356" y="655350"/>
                  </a:lnTo>
                  <a:lnTo>
                    <a:pt x="98042" y="655350"/>
                  </a:lnTo>
                  <a:lnTo>
                    <a:pt x="101728" y="659046"/>
                  </a:lnTo>
                  <a:lnTo>
                    <a:pt x="101728" y="662732"/>
                  </a:lnTo>
                  <a:lnTo>
                    <a:pt x="94356" y="666428"/>
                  </a:lnTo>
                  <a:lnTo>
                    <a:pt x="94356" y="670114"/>
                  </a:lnTo>
                  <a:lnTo>
                    <a:pt x="94356" y="673809"/>
                  </a:lnTo>
                  <a:lnTo>
                    <a:pt x="86974" y="681191"/>
                  </a:lnTo>
                  <a:lnTo>
                    <a:pt x="86974" y="684877"/>
                  </a:lnTo>
                  <a:lnTo>
                    <a:pt x="83288" y="688573"/>
                  </a:lnTo>
                  <a:lnTo>
                    <a:pt x="86974" y="692259"/>
                  </a:lnTo>
                  <a:lnTo>
                    <a:pt x="83288" y="695955"/>
                  </a:lnTo>
                  <a:lnTo>
                    <a:pt x="79602" y="695955"/>
                  </a:lnTo>
                  <a:lnTo>
                    <a:pt x="75906" y="695955"/>
                  </a:lnTo>
                  <a:lnTo>
                    <a:pt x="72220" y="695955"/>
                  </a:lnTo>
                  <a:lnTo>
                    <a:pt x="68534" y="699641"/>
                  </a:lnTo>
                  <a:lnTo>
                    <a:pt x="68534" y="703327"/>
                  </a:lnTo>
                  <a:lnTo>
                    <a:pt x="68534" y="707023"/>
                  </a:lnTo>
                  <a:lnTo>
                    <a:pt x="61152" y="714405"/>
                  </a:lnTo>
                  <a:lnTo>
                    <a:pt x="61152" y="718091"/>
                  </a:lnTo>
                  <a:lnTo>
                    <a:pt x="57466" y="718091"/>
                  </a:lnTo>
                  <a:lnTo>
                    <a:pt x="53770" y="721787"/>
                  </a:lnTo>
                  <a:lnTo>
                    <a:pt x="50084" y="721787"/>
                  </a:lnTo>
                  <a:lnTo>
                    <a:pt x="50084" y="725473"/>
                  </a:lnTo>
                  <a:lnTo>
                    <a:pt x="46398" y="725473"/>
                  </a:lnTo>
                  <a:lnTo>
                    <a:pt x="42702" y="725473"/>
                  </a:lnTo>
                  <a:lnTo>
                    <a:pt x="46398" y="729169"/>
                  </a:lnTo>
                  <a:lnTo>
                    <a:pt x="42702" y="732855"/>
                  </a:lnTo>
                  <a:lnTo>
                    <a:pt x="42702" y="736551"/>
                  </a:lnTo>
                  <a:lnTo>
                    <a:pt x="42702" y="740237"/>
                  </a:lnTo>
                  <a:lnTo>
                    <a:pt x="42702" y="743932"/>
                  </a:lnTo>
                  <a:lnTo>
                    <a:pt x="42702" y="747619"/>
                  </a:lnTo>
                  <a:lnTo>
                    <a:pt x="42702" y="751305"/>
                  </a:lnTo>
                  <a:lnTo>
                    <a:pt x="42702" y="755000"/>
                  </a:lnTo>
                  <a:lnTo>
                    <a:pt x="46398" y="755000"/>
                  </a:lnTo>
                  <a:lnTo>
                    <a:pt x="46398" y="758687"/>
                  </a:lnTo>
                  <a:lnTo>
                    <a:pt x="46398" y="762382"/>
                  </a:lnTo>
                  <a:lnTo>
                    <a:pt x="50084" y="762382"/>
                  </a:lnTo>
                  <a:lnTo>
                    <a:pt x="50084" y="766069"/>
                  </a:lnTo>
                  <a:lnTo>
                    <a:pt x="53770" y="769764"/>
                  </a:lnTo>
                  <a:lnTo>
                    <a:pt x="57466" y="769764"/>
                  </a:lnTo>
                  <a:lnTo>
                    <a:pt x="61152" y="769764"/>
                  </a:lnTo>
                  <a:lnTo>
                    <a:pt x="61152" y="773450"/>
                  </a:lnTo>
                  <a:lnTo>
                    <a:pt x="68534" y="773450"/>
                  </a:lnTo>
                  <a:lnTo>
                    <a:pt x="72220" y="777146"/>
                  </a:lnTo>
                  <a:lnTo>
                    <a:pt x="72220" y="780832"/>
                  </a:lnTo>
                  <a:lnTo>
                    <a:pt x="68534" y="784528"/>
                  </a:lnTo>
                  <a:lnTo>
                    <a:pt x="72220" y="795596"/>
                  </a:lnTo>
                  <a:lnTo>
                    <a:pt x="72220" y="802978"/>
                  </a:lnTo>
                  <a:lnTo>
                    <a:pt x="64838" y="814046"/>
                  </a:lnTo>
                  <a:lnTo>
                    <a:pt x="64838" y="817742"/>
                  </a:lnTo>
                  <a:lnTo>
                    <a:pt x="68534" y="817742"/>
                  </a:lnTo>
                  <a:lnTo>
                    <a:pt x="72220" y="817742"/>
                  </a:lnTo>
                  <a:lnTo>
                    <a:pt x="75906" y="814046"/>
                  </a:lnTo>
                  <a:lnTo>
                    <a:pt x="79602" y="814046"/>
                  </a:lnTo>
                  <a:lnTo>
                    <a:pt x="83288" y="810360"/>
                  </a:lnTo>
                  <a:lnTo>
                    <a:pt x="83288" y="814046"/>
                  </a:lnTo>
                  <a:lnTo>
                    <a:pt x="86974" y="817742"/>
                  </a:lnTo>
                  <a:lnTo>
                    <a:pt x="90660" y="817742"/>
                  </a:lnTo>
                  <a:lnTo>
                    <a:pt x="94356" y="814046"/>
                  </a:lnTo>
                  <a:lnTo>
                    <a:pt x="94356" y="810360"/>
                  </a:lnTo>
                  <a:lnTo>
                    <a:pt x="98042" y="806664"/>
                  </a:lnTo>
                  <a:lnTo>
                    <a:pt x="105424" y="795596"/>
                  </a:lnTo>
                  <a:lnTo>
                    <a:pt x="112796" y="795596"/>
                  </a:lnTo>
                  <a:lnTo>
                    <a:pt x="112796" y="802978"/>
                  </a:lnTo>
                  <a:lnTo>
                    <a:pt x="116492" y="810360"/>
                  </a:lnTo>
                  <a:lnTo>
                    <a:pt x="120178" y="806664"/>
                  </a:lnTo>
                  <a:lnTo>
                    <a:pt x="127560" y="817742"/>
                  </a:lnTo>
                  <a:lnTo>
                    <a:pt x="131246" y="817742"/>
                  </a:lnTo>
                  <a:lnTo>
                    <a:pt x="134933" y="814046"/>
                  </a:lnTo>
                  <a:lnTo>
                    <a:pt x="138628" y="817742"/>
                  </a:lnTo>
                  <a:lnTo>
                    <a:pt x="142314" y="814046"/>
                  </a:lnTo>
                  <a:lnTo>
                    <a:pt x="146000" y="810360"/>
                  </a:lnTo>
                  <a:lnTo>
                    <a:pt x="146000" y="814046"/>
                  </a:lnTo>
                  <a:lnTo>
                    <a:pt x="146000" y="821428"/>
                  </a:lnTo>
                  <a:lnTo>
                    <a:pt x="149696" y="817742"/>
                  </a:lnTo>
                  <a:lnTo>
                    <a:pt x="153382" y="814046"/>
                  </a:lnTo>
                  <a:lnTo>
                    <a:pt x="153382" y="810360"/>
                  </a:lnTo>
                  <a:lnTo>
                    <a:pt x="157069" y="810360"/>
                  </a:lnTo>
                  <a:lnTo>
                    <a:pt x="160755" y="810360"/>
                  </a:lnTo>
                  <a:lnTo>
                    <a:pt x="168137" y="806664"/>
                  </a:lnTo>
                  <a:lnTo>
                    <a:pt x="168137" y="810360"/>
                  </a:lnTo>
                  <a:lnTo>
                    <a:pt x="168137" y="817742"/>
                  </a:lnTo>
                  <a:lnTo>
                    <a:pt x="175518" y="821428"/>
                  </a:lnTo>
                  <a:lnTo>
                    <a:pt x="175518" y="817742"/>
                  </a:lnTo>
                  <a:lnTo>
                    <a:pt x="179205" y="817742"/>
                  </a:lnTo>
                  <a:lnTo>
                    <a:pt x="182891" y="817742"/>
                  </a:lnTo>
                  <a:lnTo>
                    <a:pt x="182891" y="821428"/>
                  </a:lnTo>
                  <a:lnTo>
                    <a:pt x="190273" y="817742"/>
                  </a:lnTo>
                  <a:lnTo>
                    <a:pt x="193959" y="814046"/>
                  </a:lnTo>
                  <a:lnTo>
                    <a:pt x="197655" y="814046"/>
                  </a:lnTo>
                  <a:lnTo>
                    <a:pt x="201341" y="814046"/>
                  </a:lnTo>
                  <a:lnTo>
                    <a:pt x="205027" y="814046"/>
                  </a:lnTo>
                  <a:lnTo>
                    <a:pt x="208723" y="814046"/>
                  </a:lnTo>
                  <a:lnTo>
                    <a:pt x="212409" y="817742"/>
                  </a:lnTo>
                  <a:lnTo>
                    <a:pt x="219791" y="821428"/>
                  </a:lnTo>
                  <a:lnTo>
                    <a:pt x="223477" y="821428"/>
                  </a:lnTo>
                  <a:lnTo>
                    <a:pt x="223477" y="817742"/>
                  </a:lnTo>
                  <a:lnTo>
                    <a:pt x="230859" y="817742"/>
                  </a:lnTo>
                  <a:lnTo>
                    <a:pt x="234545" y="817742"/>
                  </a:lnTo>
                  <a:lnTo>
                    <a:pt x="234545" y="810360"/>
                  </a:lnTo>
                  <a:lnTo>
                    <a:pt x="238231" y="802978"/>
                  </a:lnTo>
                  <a:lnTo>
                    <a:pt x="227163" y="795596"/>
                  </a:lnTo>
                  <a:lnTo>
                    <a:pt x="223477" y="795596"/>
                  </a:lnTo>
                  <a:lnTo>
                    <a:pt x="219791" y="791910"/>
                  </a:lnTo>
                  <a:lnTo>
                    <a:pt x="219791" y="788214"/>
                  </a:lnTo>
                  <a:lnTo>
                    <a:pt x="216095" y="788214"/>
                  </a:lnTo>
                  <a:lnTo>
                    <a:pt x="212409" y="784528"/>
                  </a:lnTo>
                  <a:lnTo>
                    <a:pt x="212409" y="780832"/>
                  </a:lnTo>
                  <a:lnTo>
                    <a:pt x="212409" y="777146"/>
                  </a:lnTo>
                  <a:lnTo>
                    <a:pt x="216095" y="773450"/>
                  </a:lnTo>
                  <a:lnTo>
                    <a:pt x="219791" y="777146"/>
                  </a:lnTo>
                  <a:lnTo>
                    <a:pt x="227163" y="780832"/>
                  </a:lnTo>
                  <a:lnTo>
                    <a:pt x="230859" y="773450"/>
                  </a:lnTo>
                  <a:lnTo>
                    <a:pt x="234545" y="769764"/>
                  </a:lnTo>
                  <a:lnTo>
                    <a:pt x="234545" y="766069"/>
                  </a:lnTo>
                  <a:lnTo>
                    <a:pt x="238231" y="766069"/>
                  </a:lnTo>
                  <a:lnTo>
                    <a:pt x="234545" y="762382"/>
                  </a:lnTo>
                  <a:lnTo>
                    <a:pt x="234545" y="758687"/>
                  </a:lnTo>
                  <a:lnTo>
                    <a:pt x="230859" y="755000"/>
                  </a:lnTo>
                  <a:lnTo>
                    <a:pt x="230859" y="751305"/>
                  </a:lnTo>
                  <a:lnTo>
                    <a:pt x="230859" y="747619"/>
                  </a:lnTo>
                  <a:lnTo>
                    <a:pt x="234545" y="743932"/>
                  </a:lnTo>
                  <a:lnTo>
                    <a:pt x="241917" y="743932"/>
                  </a:lnTo>
                  <a:lnTo>
                    <a:pt x="245613" y="740237"/>
                  </a:lnTo>
                  <a:lnTo>
                    <a:pt x="249299" y="740237"/>
                  </a:lnTo>
                  <a:lnTo>
                    <a:pt x="249299" y="736551"/>
                  </a:lnTo>
                  <a:lnTo>
                    <a:pt x="252985" y="736551"/>
                  </a:lnTo>
                  <a:lnTo>
                    <a:pt x="252985" y="740237"/>
                  </a:lnTo>
                  <a:lnTo>
                    <a:pt x="260367" y="743932"/>
                  </a:lnTo>
                  <a:lnTo>
                    <a:pt x="260367" y="736551"/>
                  </a:lnTo>
                  <a:lnTo>
                    <a:pt x="260367" y="732855"/>
                  </a:lnTo>
                  <a:lnTo>
                    <a:pt x="264053" y="732855"/>
                  </a:lnTo>
                  <a:lnTo>
                    <a:pt x="264053" y="729169"/>
                  </a:lnTo>
                  <a:lnTo>
                    <a:pt x="267749" y="725473"/>
                  </a:lnTo>
                  <a:lnTo>
                    <a:pt x="267749" y="718091"/>
                  </a:lnTo>
                  <a:lnTo>
                    <a:pt x="264053" y="714405"/>
                  </a:lnTo>
                  <a:lnTo>
                    <a:pt x="264053" y="718091"/>
                  </a:lnTo>
                  <a:lnTo>
                    <a:pt x="260367" y="710709"/>
                  </a:lnTo>
                  <a:lnTo>
                    <a:pt x="260367" y="707023"/>
                  </a:lnTo>
                  <a:lnTo>
                    <a:pt x="260367" y="703327"/>
                  </a:lnTo>
                  <a:lnTo>
                    <a:pt x="264053" y="699641"/>
                  </a:lnTo>
                  <a:lnTo>
                    <a:pt x="264053" y="695955"/>
                  </a:lnTo>
                  <a:lnTo>
                    <a:pt x="267749" y="692259"/>
                  </a:lnTo>
                  <a:lnTo>
                    <a:pt x="267749" y="688573"/>
                  </a:lnTo>
                  <a:lnTo>
                    <a:pt x="264053" y="684877"/>
                  </a:lnTo>
                  <a:lnTo>
                    <a:pt x="260367" y="684877"/>
                  </a:lnTo>
                  <a:lnTo>
                    <a:pt x="256681" y="684877"/>
                  </a:lnTo>
                  <a:lnTo>
                    <a:pt x="249299" y="684877"/>
                  </a:lnTo>
                  <a:lnTo>
                    <a:pt x="249299" y="681191"/>
                  </a:lnTo>
                  <a:lnTo>
                    <a:pt x="249299" y="677496"/>
                  </a:lnTo>
                  <a:lnTo>
                    <a:pt x="245613" y="681191"/>
                  </a:lnTo>
                  <a:lnTo>
                    <a:pt x="241917" y="677496"/>
                  </a:lnTo>
                  <a:lnTo>
                    <a:pt x="230859" y="673809"/>
                  </a:lnTo>
                  <a:lnTo>
                    <a:pt x="230859" y="666428"/>
                  </a:lnTo>
                  <a:lnTo>
                    <a:pt x="230859" y="662732"/>
                  </a:lnTo>
                  <a:lnTo>
                    <a:pt x="223477" y="659046"/>
                  </a:lnTo>
                  <a:lnTo>
                    <a:pt x="227163" y="655350"/>
                  </a:lnTo>
                  <a:lnTo>
                    <a:pt x="230859" y="655350"/>
                  </a:lnTo>
                  <a:lnTo>
                    <a:pt x="230859" y="651664"/>
                  </a:lnTo>
                  <a:lnTo>
                    <a:pt x="234545" y="636900"/>
                  </a:lnTo>
                  <a:lnTo>
                    <a:pt x="230859" y="636900"/>
                  </a:lnTo>
                  <a:lnTo>
                    <a:pt x="216095" y="636900"/>
                  </a:lnTo>
                  <a:lnTo>
                    <a:pt x="212409" y="636900"/>
                  </a:lnTo>
                  <a:lnTo>
                    <a:pt x="208723" y="640596"/>
                  </a:lnTo>
                  <a:lnTo>
                    <a:pt x="205027" y="640596"/>
                  </a:lnTo>
                  <a:lnTo>
                    <a:pt x="201341" y="636900"/>
                  </a:lnTo>
                  <a:lnTo>
                    <a:pt x="201341" y="633214"/>
                  </a:lnTo>
                  <a:lnTo>
                    <a:pt x="197655" y="633214"/>
                  </a:lnTo>
                  <a:lnTo>
                    <a:pt x="190273" y="636900"/>
                  </a:lnTo>
                  <a:lnTo>
                    <a:pt x="186587" y="636900"/>
                  </a:lnTo>
                  <a:lnTo>
                    <a:pt x="182891" y="640596"/>
                  </a:lnTo>
                  <a:lnTo>
                    <a:pt x="179205" y="640596"/>
                  </a:lnTo>
                  <a:lnTo>
                    <a:pt x="175518" y="644282"/>
                  </a:lnTo>
                  <a:lnTo>
                    <a:pt x="171823" y="644282"/>
                  </a:lnTo>
                  <a:lnTo>
                    <a:pt x="168137" y="640596"/>
                  </a:lnTo>
                  <a:lnTo>
                    <a:pt x="175518" y="633214"/>
                  </a:lnTo>
                  <a:lnTo>
                    <a:pt x="175518" y="622136"/>
                  </a:lnTo>
                  <a:lnTo>
                    <a:pt x="171823" y="622136"/>
                  </a:lnTo>
                  <a:lnTo>
                    <a:pt x="168137" y="618450"/>
                  </a:lnTo>
                  <a:lnTo>
                    <a:pt x="168137" y="614754"/>
                  </a:lnTo>
                  <a:lnTo>
                    <a:pt x="164450" y="614754"/>
                  </a:lnTo>
                  <a:lnTo>
                    <a:pt x="164450" y="611068"/>
                  </a:lnTo>
                  <a:lnTo>
                    <a:pt x="160755" y="611068"/>
                  </a:lnTo>
                  <a:lnTo>
                    <a:pt x="160755" y="607373"/>
                  </a:lnTo>
                  <a:lnTo>
                    <a:pt x="160755" y="603686"/>
                  </a:lnTo>
                  <a:lnTo>
                    <a:pt x="160755" y="600000"/>
                  </a:lnTo>
                  <a:lnTo>
                    <a:pt x="160755" y="592618"/>
                  </a:lnTo>
                  <a:lnTo>
                    <a:pt x="157069" y="588923"/>
                  </a:lnTo>
                  <a:lnTo>
                    <a:pt x="153382" y="581541"/>
                  </a:lnTo>
                  <a:lnTo>
                    <a:pt x="157069" y="581541"/>
                  </a:lnTo>
                  <a:lnTo>
                    <a:pt x="164450" y="581541"/>
                  </a:lnTo>
                  <a:lnTo>
                    <a:pt x="168137" y="581541"/>
                  </a:lnTo>
                  <a:lnTo>
                    <a:pt x="168137" y="577854"/>
                  </a:lnTo>
                  <a:lnTo>
                    <a:pt x="175518" y="574159"/>
                  </a:lnTo>
                  <a:lnTo>
                    <a:pt x="179205" y="570473"/>
                  </a:lnTo>
                  <a:lnTo>
                    <a:pt x="179205" y="574159"/>
                  </a:lnTo>
                  <a:lnTo>
                    <a:pt x="186587" y="585236"/>
                  </a:lnTo>
                  <a:lnTo>
                    <a:pt x="190273" y="592618"/>
                  </a:lnTo>
                  <a:lnTo>
                    <a:pt x="190273" y="596304"/>
                  </a:lnTo>
                  <a:lnTo>
                    <a:pt x="193959" y="592618"/>
                  </a:lnTo>
                  <a:lnTo>
                    <a:pt x="197655" y="592618"/>
                  </a:lnTo>
                  <a:lnTo>
                    <a:pt x="197655" y="596304"/>
                  </a:lnTo>
                  <a:lnTo>
                    <a:pt x="201341" y="596304"/>
                  </a:lnTo>
                  <a:lnTo>
                    <a:pt x="201341" y="592618"/>
                  </a:lnTo>
                  <a:lnTo>
                    <a:pt x="205027" y="588923"/>
                  </a:lnTo>
                  <a:lnTo>
                    <a:pt x="205027" y="585236"/>
                  </a:lnTo>
                  <a:lnTo>
                    <a:pt x="208723" y="581541"/>
                  </a:lnTo>
                  <a:lnTo>
                    <a:pt x="208723" y="577854"/>
                  </a:lnTo>
                  <a:lnTo>
                    <a:pt x="208723" y="574159"/>
                  </a:lnTo>
                  <a:lnTo>
                    <a:pt x="212409" y="570473"/>
                  </a:lnTo>
                  <a:lnTo>
                    <a:pt x="212409" y="566777"/>
                  </a:lnTo>
                  <a:lnTo>
                    <a:pt x="216095" y="563091"/>
                  </a:lnTo>
                  <a:lnTo>
                    <a:pt x="216095" y="559395"/>
                  </a:lnTo>
                  <a:lnTo>
                    <a:pt x="219791" y="555709"/>
                  </a:lnTo>
                  <a:lnTo>
                    <a:pt x="227163" y="552023"/>
                  </a:lnTo>
                  <a:lnTo>
                    <a:pt x="230859" y="548327"/>
                  </a:lnTo>
                  <a:lnTo>
                    <a:pt x="238231" y="544641"/>
                  </a:lnTo>
                  <a:lnTo>
                    <a:pt x="241917" y="544641"/>
                  </a:lnTo>
                  <a:lnTo>
                    <a:pt x="245613" y="540945"/>
                  </a:lnTo>
                  <a:lnTo>
                    <a:pt x="249299" y="537259"/>
                  </a:lnTo>
                  <a:lnTo>
                    <a:pt x="249299" y="533563"/>
                  </a:lnTo>
                  <a:lnTo>
                    <a:pt x="252985" y="529877"/>
                  </a:lnTo>
                  <a:lnTo>
                    <a:pt x="256681" y="529877"/>
                  </a:lnTo>
                  <a:lnTo>
                    <a:pt x="260367" y="529877"/>
                  </a:lnTo>
                  <a:lnTo>
                    <a:pt x="264053" y="526181"/>
                  </a:lnTo>
                  <a:lnTo>
                    <a:pt x="264053" y="522495"/>
                  </a:lnTo>
                  <a:lnTo>
                    <a:pt x="264053" y="518799"/>
                  </a:lnTo>
                  <a:lnTo>
                    <a:pt x="267749" y="515113"/>
                  </a:lnTo>
                  <a:lnTo>
                    <a:pt x="271435" y="515113"/>
                  </a:lnTo>
                  <a:lnTo>
                    <a:pt x="275121" y="515113"/>
                  </a:lnTo>
                  <a:lnTo>
                    <a:pt x="278817" y="511427"/>
                  </a:lnTo>
                  <a:lnTo>
                    <a:pt x="282503" y="511427"/>
                  </a:lnTo>
                  <a:lnTo>
                    <a:pt x="282503" y="507731"/>
                  </a:lnTo>
                  <a:lnTo>
                    <a:pt x="289885" y="507731"/>
                  </a:lnTo>
                  <a:lnTo>
                    <a:pt x="293571" y="504045"/>
                  </a:lnTo>
                  <a:lnTo>
                    <a:pt x="297258" y="504045"/>
                  </a:lnTo>
                  <a:lnTo>
                    <a:pt x="304639" y="504045"/>
                  </a:lnTo>
                  <a:lnTo>
                    <a:pt x="300944" y="500350"/>
                  </a:lnTo>
                  <a:lnTo>
                    <a:pt x="304639" y="500350"/>
                  </a:lnTo>
                  <a:lnTo>
                    <a:pt x="308326" y="496663"/>
                  </a:lnTo>
                  <a:lnTo>
                    <a:pt x="293571" y="485586"/>
                  </a:lnTo>
                  <a:lnTo>
                    <a:pt x="289885" y="485586"/>
                  </a:lnTo>
                  <a:lnTo>
                    <a:pt x="312012" y="474518"/>
                  </a:lnTo>
                  <a:lnTo>
                    <a:pt x="304639" y="467136"/>
                  </a:lnTo>
                  <a:lnTo>
                    <a:pt x="282503" y="478204"/>
                  </a:lnTo>
                  <a:lnTo>
                    <a:pt x="278817" y="481900"/>
                  </a:lnTo>
                  <a:lnTo>
                    <a:pt x="275121" y="485586"/>
                  </a:lnTo>
                  <a:lnTo>
                    <a:pt x="271435" y="485586"/>
                  </a:lnTo>
                  <a:lnTo>
                    <a:pt x="267749" y="485586"/>
                  </a:lnTo>
                  <a:lnTo>
                    <a:pt x="260367" y="485586"/>
                  </a:lnTo>
                  <a:lnTo>
                    <a:pt x="260367" y="481900"/>
                  </a:lnTo>
                  <a:lnTo>
                    <a:pt x="256681" y="478204"/>
                  </a:lnTo>
                  <a:lnTo>
                    <a:pt x="256681" y="452372"/>
                  </a:lnTo>
                  <a:lnTo>
                    <a:pt x="252985" y="448686"/>
                  </a:lnTo>
                  <a:lnTo>
                    <a:pt x="256681" y="444990"/>
                  </a:lnTo>
                  <a:lnTo>
                    <a:pt x="264053" y="444990"/>
                  </a:lnTo>
                  <a:lnTo>
                    <a:pt x="256681" y="430227"/>
                  </a:lnTo>
                  <a:lnTo>
                    <a:pt x="264053" y="426540"/>
                  </a:lnTo>
                  <a:lnTo>
                    <a:pt x="267749" y="419158"/>
                  </a:lnTo>
                  <a:lnTo>
                    <a:pt x="282503" y="404395"/>
                  </a:lnTo>
                  <a:lnTo>
                    <a:pt x="282503" y="400709"/>
                  </a:lnTo>
                  <a:lnTo>
                    <a:pt x="286189" y="397013"/>
                  </a:lnTo>
                  <a:lnTo>
                    <a:pt x="293571" y="385945"/>
                  </a:lnTo>
                  <a:lnTo>
                    <a:pt x="297258" y="378563"/>
                  </a:lnTo>
                  <a:lnTo>
                    <a:pt x="297258" y="374867"/>
                  </a:lnTo>
                  <a:lnTo>
                    <a:pt x="300944" y="371181"/>
                  </a:lnTo>
                  <a:lnTo>
                    <a:pt x="300944" y="367495"/>
                  </a:lnTo>
                  <a:lnTo>
                    <a:pt x="300944" y="363799"/>
                  </a:lnTo>
                  <a:lnTo>
                    <a:pt x="304639" y="360113"/>
                  </a:lnTo>
                  <a:lnTo>
                    <a:pt x="304639" y="356417"/>
                  </a:lnTo>
                  <a:lnTo>
                    <a:pt x="308326" y="356417"/>
                  </a:lnTo>
                  <a:lnTo>
                    <a:pt x="312012" y="356417"/>
                  </a:lnTo>
                  <a:lnTo>
                    <a:pt x="315707" y="356417"/>
                  </a:lnTo>
                  <a:lnTo>
                    <a:pt x="315707" y="352731"/>
                  </a:lnTo>
                  <a:lnTo>
                    <a:pt x="334148" y="334272"/>
                  </a:lnTo>
                  <a:lnTo>
                    <a:pt x="330462" y="323204"/>
                  </a:lnTo>
                  <a:lnTo>
                    <a:pt x="326775" y="315822"/>
                  </a:lnTo>
                  <a:lnTo>
                    <a:pt x="326775" y="312136"/>
                  </a:lnTo>
                  <a:lnTo>
                    <a:pt x="330462" y="308440"/>
                  </a:lnTo>
                  <a:lnTo>
                    <a:pt x="334148" y="304754"/>
                  </a:lnTo>
                  <a:lnTo>
                    <a:pt x="323080" y="304754"/>
                  </a:lnTo>
                  <a:lnTo>
                    <a:pt x="323080" y="301058"/>
                  </a:lnTo>
                  <a:lnTo>
                    <a:pt x="326775" y="278912"/>
                  </a:lnTo>
                  <a:lnTo>
                    <a:pt x="326775" y="267844"/>
                  </a:lnTo>
                  <a:lnTo>
                    <a:pt x="330462" y="267844"/>
                  </a:lnTo>
                  <a:lnTo>
                    <a:pt x="326775" y="260462"/>
                  </a:lnTo>
                  <a:lnTo>
                    <a:pt x="330462" y="256776"/>
                  </a:lnTo>
                  <a:lnTo>
                    <a:pt x="330462" y="245699"/>
                  </a:lnTo>
                  <a:lnTo>
                    <a:pt x="326775" y="238317"/>
                  </a:lnTo>
                  <a:lnTo>
                    <a:pt x="323080" y="230935"/>
                  </a:lnTo>
                  <a:lnTo>
                    <a:pt x="326775" y="223563"/>
                  </a:lnTo>
                  <a:lnTo>
                    <a:pt x="323080" y="219867"/>
                  </a:lnTo>
                  <a:lnTo>
                    <a:pt x="323080" y="212485"/>
                  </a:lnTo>
                  <a:lnTo>
                    <a:pt x="323080" y="208799"/>
                  </a:lnTo>
                  <a:lnTo>
                    <a:pt x="319394" y="201417"/>
                  </a:lnTo>
                  <a:lnTo>
                    <a:pt x="312012" y="197721"/>
                  </a:lnTo>
                  <a:lnTo>
                    <a:pt x="304639" y="194035"/>
                  </a:lnTo>
                  <a:lnTo>
                    <a:pt x="297258" y="171890"/>
                  </a:lnTo>
                  <a:lnTo>
                    <a:pt x="289885" y="168203"/>
                  </a:lnTo>
                  <a:lnTo>
                    <a:pt x="286189" y="164508"/>
                  </a:lnTo>
                  <a:lnTo>
                    <a:pt x="282503" y="160821"/>
                  </a:lnTo>
                  <a:lnTo>
                    <a:pt x="278817" y="153439"/>
                  </a:lnTo>
                  <a:lnTo>
                    <a:pt x="278817" y="149744"/>
                  </a:lnTo>
                  <a:lnTo>
                    <a:pt x="275121" y="149744"/>
                  </a:lnTo>
                  <a:lnTo>
                    <a:pt x="264053" y="142362"/>
                  </a:lnTo>
                  <a:lnTo>
                    <a:pt x="264053" y="134980"/>
                  </a:lnTo>
                  <a:lnTo>
                    <a:pt x="264053" y="127608"/>
                  </a:lnTo>
                  <a:lnTo>
                    <a:pt x="267749" y="127608"/>
                  </a:lnTo>
                  <a:lnTo>
                    <a:pt x="267749" y="123912"/>
                  </a:lnTo>
                  <a:lnTo>
                    <a:pt x="271435" y="112844"/>
                  </a:lnTo>
                  <a:lnTo>
                    <a:pt x="271435" y="109148"/>
                  </a:lnTo>
                  <a:lnTo>
                    <a:pt x="275121" y="105462"/>
                  </a:lnTo>
                  <a:lnTo>
                    <a:pt x="275121" y="101766"/>
                  </a:lnTo>
                  <a:lnTo>
                    <a:pt x="267749" y="98080"/>
                  </a:lnTo>
                  <a:lnTo>
                    <a:pt x="264053" y="98080"/>
                  </a:lnTo>
                  <a:lnTo>
                    <a:pt x="260367" y="98080"/>
                  </a:lnTo>
                  <a:lnTo>
                    <a:pt x="260367" y="94384"/>
                  </a:lnTo>
                  <a:lnTo>
                    <a:pt x="256681" y="94384"/>
                  </a:lnTo>
                  <a:lnTo>
                    <a:pt x="252985" y="94384"/>
                  </a:lnTo>
                  <a:lnTo>
                    <a:pt x="234545" y="87003"/>
                  </a:lnTo>
                  <a:lnTo>
                    <a:pt x="230859" y="83316"/>
                  </a:lnTo>
                  <a:lnTo>
                    <a:pt x="230859" y="79630"/>
                  </a:lnTo>
                  <a:lnTo>
                    <a:pt x="230859" y="75935"/>
                  </a:lnTo>
                  <a:lnTo>
                    <a:pt x="234545" y="72248"/>
                  </a:lnTo>
                  <a:lnTo>
                    <a:pt x="230859" y="68553"/>
                  </a:lnTo>
                  <a:lnTo>
                    <a:pt x="230859" y="64867"/>
                  </a:lnTo>
                  <a:lnTo>
                    <a:pt x="230859" y="57485"/>
                  </a:lnTo>
                  <a:lnTo>
                    <a:pt x="234545" y="57485"/>
                  </a:lnTo>
                  <a:lnTo>
                    <a:pt x="238231" y="57485"/>
                  </a:lnTo>
                  <a:lnTo>
                    <a:pt x="238231" y="53789"/>
                  </a:lnTo>
                  <a:lnTo>
                    <a:pt x="234545" y="53789"/>
                  </a:lnTo>
                  <a:lnTo>
                    <a:pt x="234545" y="50103"/>
                  </a:lnTo>
                  <a:lnTo>
                    <a:pt x="234545" y="46407"/>
                  </a:lnTo>
                  <a:lnTo>
                    <a:pt x="230859" y="46407"/>
                  </a:lnTo>
                  <a:lnTo>
                    <a:pt x="219791" y="39025"/>
                  </a:lnTo>
                  <a:lnTo>
                    <a:pt x="216095" y="35339"/>
                  </a:lnTo>
                  <a:lnTo>
                    <a:pt x="208723" y="35339"/>
                  </a:lnTo>
                  <a:lnTo>
                    <a:pt x="205027" y="35339"/>
                  </a:lnTo>
                  <a:lnTo>
                    <a:pt x="193959" y="35339"/>
                  </a:lnTo>
                  <a:lnTo>
                    <a:pt x="193959" y="31653"/>
                  </a:lnTo>
                  <a:lnTo>
                    <a:pt x="190273" y="35339"/>
                  </a:lnTo>
                  <a:lnTo>
                    <a:pt x="186587" y="35339"/>
                  </a:lnTo>
                  <a:lnTo>
                    <a:pt x="182891" y="31653"/>
                  </a:lnTo>
                  <a:lnTo>
                    <a:pt x="182891" y="27957"/>
                  </a:lnTo>
                  <a:lnTo>
                    <a:pt x="179205" y="27957"/>
                  </a:lnTo>
                  <a:lnTo>
                    <a:pt x="175518" y="24271"/>
                  </a:lnTo>
                  <a:lnTo>
                    <a:pt x="175518" y="20575"/>
                  </a:lnTo>
                  <a:lnTo>
                    <a:pt x="171823" y="16889"/>
                  </a:lnTo>
                  <a:lnTo>
                    <a:pt x="171823" y="13193"/>
                  </a:lnTo>
                  <a:lnTo>
                    <a:pt x="168137" y="9507"/>
                  </a:lnTo>
                  <a:lnTo>
                    <a:pt x="164450" y="5812"/>
                  </a:lnTo>
                  <a:lnTo>
                    <a:pt x="160755" y="5812"/>
                  </a:lnTo>
                  <a:lnTo>
                    <a:pt x="153382"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16" name="Google Shape;411;p2">
              <a:extLst>
                <a:ext uri="{FF2B5EF4-FFF2-40B4-BE49-F238E27FC236}">
                  <a16:creationId xmlns:a16="http://schemas.microsoft.com/office/drawing/2014/main" id="{35F8DB6D-A0C9-416D-ABBA-5A8D42A885A2}"/>
                </a:ext>
              </a:extLst>
            </p:cNvPr>
            <p:cNvSpPr/>
            <p:nvPr/>
          </p:nvSpPr>
          <p:spPr>
            <a:xfrm>
              <a:off x="3048462" y="2790508"/>
              <a:ext cx="823078" cy="671460"/>
            </a:xfrm>
            <a:custGeom>
              <a:avLst/>
              <a:gdLst/>
              <a:ahLst/>
              <a:cxnLst/>
              <a:rect l="l" t="t" r="r" b="b"/>
              <a:pathLst>
                <a:path w="361950" h="295275" extrusionOk="0">
                  <a:moveTo>
                    <a:pt x="256678" y="5812"/>
                  </a:moveTo>
                  <a:lnTo>
                    <a:pt x="252982" y="9502"/>
                  </a:lnTo>
                  <a:lnTo>
                    <a:pt x="227160" y="16882"/>
                  </a:lnTo>
                  <a:lnTo>
                    <a:pt x="223474" y="16882"/>
                  </a:lnTo>
                  <a:lnTo>
                    <a:pt x="219788" y="20573"/>
                  </a:lnTo>
                  <a:lnTo>
                    <a:pt x="190270" y="46407"/>
                  </a:lnTo>
                  <a:lnTo>
                    <a:pt x="190270" y="50098"/>
                  </a:lnTo>
                  <a:lnTo>
                    <a:pt x="186584" y="50098"/>
                  </a:lnTo>
                  <a:lnTo>
                    <a:pt x="171820" y="50098"/>
                  </a:lnTo>
                  <a:lnTo>
                    <a:pt x="168134" y="50098"/>
                  </a:lnTo>
                  <a:lnTo>
                    <a:pt x="168134" y="53788"/>
                  </a:lnTo>
                  <a:lnTo>
                    <a:pt x="164448" y="64860"/>
                  </a:lnTo>
                  <a:lnTo>
                    <a:pt x="164448" y="61170"/>
                  </a:lnTo>
                  <a:lnTo>
                    <a:pt x="160761" y="68551"/>
                  </a:lnTo>
                  <a:lnTo>
                    <a:pt x="160761" y="72242"/>
                  </a:lnTo>
                  <a:lnTo>
                    <a:pt x="160761" y="75932"/>
                  </a:lnTo>
                  <a:lnTo>
                    <a:pt x="160761" y="79623"/>
                  </a:lnTo>
                  <a:lnTo>
                    <a:pt x="160761" y="83313"/>
                  </a:lnTo>
                  <a:lnTo>
                    <a:pt x="153380" y="87004"/>
                  </a:lnTo>
                  <a:lnTo>
                    <a:pt x="149693" y="87004"/>
                  </a:lnTo>
                  <a:lnTo>
                    <a:pt x="145998" y="90695"/>
                  </a:lnTo>
                  <a:lnTo>
                    <a:pt x="142312" y="98075"/>
                  </a:lnTo>
                  <a:lnTo>
                    <a:pt x="138625" y="98075"/>
                  </a:lnTo>
                  <a:lnTo>
                    <a:pt x="134930" y="98075"/>
                  </a:lnTo>
                  <a:lnTo>
                    <a:pt x="134930" y="101765"/>
                  </a:lnTo>
                  <a:lnTo>
                    <a:pt x="72217" y="142362"/>
                  </a:lnTo>
                  <a:lnTo>
                    <a:pt x="61149" y="149743"/>
                  </a:lnTo>
                  <a:lnTo>
                    <a:pt x="61149" y="153434"/>
                  </a:lnTo>
                  <a:lnTo>
                    <a:pt x="57460" y="153434"/>
                  </a:lnTo>
                  <a:lnTo>
                    <a:pt x="57460" y="157125"/>
                  </a:lnTo>
                  <a:lnTo>
                    <a:pt x="53771" y="157125"/>
                  </a:lnTo>
                  <a:lnTo>
                    <a:pt x="51580" y="157125"/>
                  </a:lnTo>
                  <a:lnTo>
                    <a:pt x="27947" y="171887"/>
                  </a:lnTo>
                  <a:lnTo>
                    <a:pt x="24257" y="175578"/>
                  </a:lnTo>
                  <a:lnTo>
                    <a:pt x="9501" y="186648"/>
                  </a:lnTo>
                  <a:lnTo>
                    <a:pt x="5812" y="186648"/>
                  </a:lnTo>
                  <a:lnTo>
                    <a:pt x="5812" y="190339"/>
                  </a:lnTo>
                  <a:lnTo>
                    <a:pt x="13190" y="197723"/>
                  </a:lnTo>
                  <a:lnTo>
                    <a:pt x="13190" y="205105"/>
                  </a:lnTo>
                  <a:lnTo>
                    <a:pt x="13190" y="216173"/>
                  </a:lnTo>
                  <a:lnTo>
                    <a:pt x="9501" y="219869"/>
                  </a:lnTo>
                  <a:lnTo>
                    <a:pt x="13190" y="219869"/>
                  </a:lnTo>
                  <a:lnTo>
                    <a:pt x="16879" y="227241"/>
                  </a:lnTo>
                  <a:lnTo>
                    <a:pt x="13190" y="227241"/>
                  </a:lnTo>
                  <a:lnTo>
                    <a:pt x="16879" y="230937"/>
                  </a:lnTo>
                  <a:lnTo>
                    <a:pt x="20568" y="227241"/>
                  </a:lnTo>
                  <a:lnTo>
                    <a:pt x="24257" y="227241"/>
                  </a:lnTo>
                  <a:lnTo>
                    <a:pt x="39014" y="223555"/>
                  </a:lnTo>
                  <a:lnTo>
                    <a:pt x="42703" y="223555"/>
                  </a:lnTo>
                  <a:lnTo>
                    <a:pt x="46392" y="223555"/>
                  </a:lnTo>
                  <a:lnTo>
                    <a:pt x="50082" y="227241"/>
                  </a:lnTo>
                  <a:lnTo>
                    <a:pt x="53771" y="227241"/>
                  </a:lnTo>
                  <a:lnTo>
                    <a:pt x="57460" y="227241"/>
                  </a:lnTo>
                  <a:lnTo>
                    <a:pt x="64838" y="227241"/>
                  </a:lnTo>
                  <a:lnTo>
                    <a:pt x="75903" y="230937"/>
                  </a:lnTo>
                  <a:lnTo>
                    <a:pt x="83285" y="238319"/>
                  </a:lnTo>
                  <a:lnTo>
                    <a:pt x="94353" y="242005"/>
                  </a:lnTo>
                  <a:lnTo>
                    <a:pt x="101725" y="249387"/>
                  </a:lnTo>
                  <a:lnTo>
                    <a:pt x="134930" y="278914"/>
                  </a:lnTo>
                  <a:lnTo>
                    <a:pt x="138625" y="286296"/>
                  </a:lnTo>
                  <a:lnTo>
                    <a:pt x="142312" y="286296"/>
                  </a:lnTo>
                  <a:lnTo>
                    <a:pt x="149693" y="289982"/>
                  </a:lnTo>
                  <a:lnTo>
                    <a:pt x="157066" y="286296"/>
                  </a:lnTo>
                  <a:lnTo>
                    <a:pt x="175516" y="278914"/>
                  </a:lnTo>
                  <a:lnTo>
                    <a:pt x="179202" y="278914"/>
                  </a:lnTo>
                  <a:lnTo>
                    <a:pt x="186584" y="278914"/>
                  </a:lnTo>
                  <a:lnTo>
                    <a:pt x="190270" y="275219"/>
                  </a:lnTo>
                  <a:lnTo>
                    <a:pt x="201338" y="271532"/>
                  </a:lnTo>
                  <a:lnTo>
                    <a:pt x="205024" y="271532"/>
                  </a:lnTo>
                  <a:lnTo>
                    <a:pt x="208720" y="256769"/>
                  </a:lnTo>
                  <a:lnTo>
                    <a:pt x="212406" y="253082"/>
                  </a:lnTo>
                  <a:lnTo>
                    <a:pt x="212406" y="242005"/>
                  </a:lnTo>
                  <a:lnTo>
                    <a:pt x="216092" y="242005"/>
                  </a:lnTo>
                  <a:lnTo>
                    <a:pt x="216092" y="234623"/>
                  </a:lnTo>
                  <a:lnTo>
                    <a:pt x="216092" y="230937"/>
                  </a:lnTo>
                  <a:lnTo>
                    <a:pt x="216092" y="227241"/>
                  </a:lnTo>
                  <a:lnTo>
                    <a:pt x="216092" y="223555"/>
                  </a:lnTo>
                  <a:lnTo>
                    <a:pt x="212406" y="223555"/>
                  </a:lnTo>
                  <a:lnTo>
                    <a:pt x="212406" y="219869"/>
                  </a:lnTo>
                  <a:lnTo>
                    <a:pt x="208720" y="212487"/>
                  </a:lnTo>
                  <a:lnTo>
                    <a:pt x="212406" y="208791"/>
                  </a:lnTo>
                  <a:lnTo>
                    <a:pt x="223474" y="197723"/>
                  </a:lnTo>
                  <a:lnTo>
                    <a:pt x="230856" y="201409"/>
                  </a:lnTo>
                  <a:lnTo>
                    <a:pt x="241914" y="197723"/>
                  </a:lnTo>
                  <a:lnTo>
                    <a:pt x="245610" y="197723"/>
                  </a:lnTo>
                  <a:lnTo>
                    <a:pt x="249296" y="194027"/>
                  </a:lnTo>
                  <a:lnTo>
                    <a:pt x="245610" y="194027"/>
                  </a:lnTo>
                  <a:lnTo>
                    <a:pt x="249296" y="190339"/>
                  </a:lnTo>
                  <a:lnTo>
                    <a:pt x="252982" y="186648"/>
                  </a:lnTo>
                  <a:lnTo>
                    <a:pt x="256678" y="182958"/>
                  </a:lnTo>
                  <a:lnTo>
                    <a:pt x="267746" y="171887"/>
                  </a:lnTo>
                  <a:lnTo>
                    <a:pt x="297255" y="157125"/>
                  </a:lnTo>
                  <a:lnTo>
                    <a:pt x="300950" y="157125"/>
                  </a:lnTo>
                  <a:lnTo>
                    <a:pt x="304637" y="157125"/>
                  </a:lnTo>
                  <a:lnTo>
                    <a:pt x="308323" y="160815"/>
                  </a:lnTo>
                  <a:lnTo>
                    <a:pt x="312009" y="160815"/>
                  </a:lnTo>
                  <a:lnTo>
                    <a:pt x="326773" y="149743"/>
                  </a:lnTo>
                  <a:lnTo>
                    <a:pt x="330459" y="142362"/>
                  </a:lnTo>
                  <a:lnTo>
                    <a:pt x="337841" y="134981"/>
                  </a:lnTo>
                  <a:lnTo>
                    <a:pt x="341527" y="127600"/>
                  </a:lnTo>
                  <a:lnTo>
                    <a:pt x="345213" y="123909"/>
                  </a:lnTo>
                  <a:lnTo>
                    <a:pt x="348909" y="116528"/>
                  </a:lnTo>
                  <a:lnTo>
                    <a:pt x="359977" y="94385"/>
                  </a:lnTo>
                  <a:lnTo>
                    <a:pt x="363663" y="87004"/>
                  </a:lnTo>
                  <a:lnTo>
                    <a:pt x="363663" y="83313"/>
                  </a:lnTo>
                  <a:lnTo>
                    <a:pt x="363663" y="75932"/>
                  </a:lnTo>
                  <a:lnTo>
                    <a:pt x="363663" y="57479"/>
                  </a:lnTo>
                  <a:lnTo>
                    <a:pt x="359977" y="50098"/>
                  </a:lnTo>
                  <a:lnTo>
                    <a:pt x="341527" y="31645"/>
                  </a:lnTo>
                  <a:lnTo>
                    <a:pt x="341527" y="27954"/>
                  </a:lnTo>
                  <a:lnTo>
                    <a:pt x="337841" y="27954"/>
                  </a:lnTo>
                  <a:lnTo>
                    <a:pt x="319391" y="27954"/>
                  </a:lnTo>
                  <a:lnTo>
                    <a:pt x="315705" y="27954"/>
                  </a:lnTo>
                  <a:lnTo>
                    <a:pt x="300950" y="24264"/>
                  </a:lnTo>
                  <a:lnTo>
                    <a:pt x="267746" y="13193"/>
                  </a:lnTo>
                  <a:lnTo>
                    <a:pt x="264051" y="13193"/>
                  </a:lnTo>
                  <a:lnTo>
                    <a:pt x="260364" y="5812"/>
                  </a:lnTo>
                  <a:lnTo>
                    <a:pt x="256678" y="5812"/>
                  </a:lnTo>
                  <a:close/>
                  <a:moveTo>
                    <a:pt x="51580" y="157125"/>
                  </a:moveTo>
                  <a:lnTo>
                    <a:pt x="57460" y="153434"/>
                  </a:lnTo>
                  <a:lnTo>
                    <a:pt x="50082" y="157125"/>
                  </a:lnTo>
                  <a:lnTo>
                    <a:pt x="51580" y="157125"/>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17" name="Google Shape;412;p2">
              <a:extLst>
                <a:ext uri="{FF2B5EF4-FFF2-40B4-BE49-F238E27FC236}">
                  <a16:creationId xmlns:a16="http://schemas.microsoft.com/office/drawing/2014/main" id="{DF85CE7B-A8AE-42B1-946C-D80AD3F66D9D}"/>
                </a:ext>
              </a:extLst>
            </p:cNvPr>
            <p:cNvSpPr/>
            <p:nvPr/>
          </p:nvSpPr>
          <p:spPr>
            <a:xfrm>
              <a:off x="3568595" y="2362495"/>
              <a:ext cx="476520" cy="433200"/>
            </a:xfrm>
            <a:custGeom>
              <a:avLst/>
              <a:gdLst/>
              <a:ahLst/>
              <a:cxnLst/>
              <a:rect l="l" t="t" r="r" b="b"/>
              <a:pathLst>
                <a:path w="209550" h="190500" extrusionOk="0">
                  <a:moveTo>
                    <a:pt x="68524" y="5812"/>
                  </a:moveTo>
                  <a:lnTo>
                    <a:pt x="72220" y="13193"/>
                  </a:lnTo>
                  <a:lnTo>
                    <a:pt x="64838" y="9503"/>
                  </a:lnTo>
                  <a:lnTo>
                    <a:pt x="64838" y="13193"/>
                  </a:lnTo>
                  <a:lnTo>
                    <a:pt x="61152" y="13193"/>
                  </a:lnTo>
                  <a:lnTo>
                    <a:pt x="42702" y="16883"/>
                  </a:lnTo>
                  <a:lnTo>
                    <a:pt x="39016" y="16883"/>
                  </a:lnTo>
                  <a:lnTo>
                    <a:pt x="39016" y="20574"/>
                  </a:lnTo>
                  <a:lnTo>
                    <a:pt x="27948" y="39027"/>
                  </a:lnTo>
                  <a:lnTo>
                    <a:pt x="9498" y="68552"/>
                  </a:lnTo>
                  <a:lnTo>
                    <a:pt x="9498" y="72242"/>
                  </a:lnTo>
                  <a:lnTo>
                    <a:pt x="5812" y="83314"/>
                  </a:lnTo>
                  <a:lnTo>
                    <a:pt x="5812" y="120219"/>
                  </a:lnTo>
                  <a:lnTo>
                    <a:pt x="5812" y="138672"/>
                  </a:lnTo>
                  <a:lnTo>
                    <a:pt x="5812" y="146054"/>
                  </a:lnTo>
                  <a:lnTo>
                    <a:pt x="5812" y="149744"/>
                  </a:lnTo>
                  <a:lnTo>
                    <a:pt x="5812" y="153435"/>
                  </a:lnTo>
                  <a:lnTo>
                    <a:pt x="9498" y="153435"/>
                  </a:lnTo>
                  <a:lnTo>
                    <a:pt x="13184" y="157125"/>
                  </a:lnTo>
                  <a:lnTo>
                    <a:pt x="16880" y="160816"/>
                  </a:lnTo>
                  <a:lnTo>
                    <a:pt x="24252" y="171888"/>
                  </a:lnTo>
                  <a:lnTo>
                    <a:pt x="35320" y="186649"/>
                  </a:lnTo>
                  <a:lnTo>
                    <a:pt x="39016" y="190340"/>
                  </a:lnTo>
                  <a:lnTo>
                    <a:pt x="42702" y="190340"/>
                  </a:lnTo>
                  <a:lnTo>
                    <a:pt x="79592" y="190340"/>
                  </a:lnTo>
                  <a:lnTo>
                    <a:pt x="83278" y="190340"/>
                  </a:lnTo>
                  <a:lnTo>
                    <a:pt x="94346" y="190340"/>
                  </a:lnTo>
                  <a:lnTo>
                    <a:pt x="123864" y="190340"/>
                  </a:lnTo>
                  <a:lnTo>
                    <a:pt x="127551" y="190340"/>
                  </a:lnTo>
                  <a:lnTo>
                    <a:pt x="157069" y="182959"/>
                  </a:lnTo>
                  <a:lnTo>
                    <a:pt x="160755" y="186649"/>
                  </a:lnTo>
                  <a:lnTo>
                    <a:pt x="164441" y="190340"/>
                  </a:lnTo>
                  <a:lnTo>
                    <a:pt x="171823" y="186649"/>
                  </a:lnTo>
                  <a:lnTo>
                    <a:pt x="175509" y="186649"/>
                  </a:lnTo>
                  <a:lnTo>
                    <a:pt x="182891" y="182959"/>
                  </a:lnTo>
                  <a:lnTo>
                    <a:pt x="182891" y="179269"/>
                  </a:lnTo>
                  <a:lnTo>
                    <a:pt x="193959" y="175578"/>
                  </a:lnTo>
                  <a:lnTo>
                    <a:pt x="197645" y="175578"/>
                  </a:lnTo>
                  <a:lnTo>
                    <a:pt x="208713" y="168197"/>
                  </a:lnTo>
                  <a:lnTo>
                    <a:pt x="212409" y="164507"/>
                  </a:lnTo>
                  <a:lnTo>
                    <a:pt x="208713" y="157125"/>
                  </a:lnTo>
                  <a:lnTo>
                    <a:pt x="201341" y="157125"/>
                  </a:lnTo>
                  <a:lnTo>
                    <a:pt x="197645" y="153435"/>
                  </a:lnTo>
                  <a:lnTo>
                    <a:pt x="193959" y="149744"/>
                  </a:lnTo>
                  <a:lnTo>
                    <a:pt x="186577" y="146054"/>
                  </a:lnTo>
                  <a:lnTo>
                    <a:pt x="182891" y="146054"/>
                  </a:lnTo>
                  <a:lnTo>
                    <a:pt x="175509" y="142363"/>
                  </a:lnTo>
                  <a:lnTo>
                    <a:pt x="175509" y="146054"/>
                  </a:lnTo>
                  <a:lnTo>
                    <a:pt x="171823" y="146054"/>
                  </a:lnTo>
                  <a:lnTo>
                    <a:pt x="171823" y="142363"/>
                  </a:lnTo>
                  <a:lnTo>
                    <a:pt x="171823" y="138672"/>
                  </a:lnTo>
                  <a:lnTo>
                    <a:pt x="175509" y="134982"/>
                  </a:lnTo>
                  <a:lnTo>
                    <a:pt x="179205" y="131291"/>
                  </a:lnTo>
                  <a:lnTo>
                    <a:pt x="186577" y="127600"/>
                  </a:lnTo>
                  <a:lnTo>
                    <a:pt x="186577" y="123910"/>
                  </a:lnTo>
                  <a:lnTo>
                    <a:pt x="186577" y="120219"/>
                  </a:lnTo>
                  <a:lnTo>
                    <a:pt x="182891" y="116529"/>
                  </a:lnTo>
                  <a:lnTo>
                    <a:pt x="182891" y="112838"/>
                  </a:lnTo>
                  <a:lnTo>
                    <a:pt x="179205" y="109147"/>
                  </a:lnTo>
                  <a:lnTo>
                    <a:pt x="175509" y="109147"/>
                  </a:lnTo>
                  <a:lnTo>
                    <a:pt x="175509" y="105457"/>
                  </a:lnTo>
                  <a:lnTo>
                    <a:pt x="168137" y="90695"/>
                  </a:lnTo>
                  <a:lnTo>
                    <a:pt x="164441" y="79623"/>
                  </a:lnTo>
                  <a:lnTo>
                    <a:pt x="157069" y="72242"/>
                  </a:lnTo>
                  <a:lnTo>
                    <a:pt x="153373" y="72242"/>
                  </a:lnTo>
                  <a:lnTo>
                    <a:pt x="149687" y="68552"/>
                  </a:lnTo>
                  <a:lnTo>
                    <a:pt x="146001" y="61171"/>
                  </a:lnTo>
                  <a:lnTo>
                    <a:pt x="134932" y="57480"/>
                  </a:lnTo>
                  <a:lnTo>
                    <a:pt x="131246" y="53789"/>
                  </a:lnTo>
                  <a:lnTo>
                    <a:pt x="123864" y="53789"/>
                  </a:lnTo>
                  <a:lnTo>
                    <a:pt x="116483" y="53789"/>
                  </a:lnTo>
                  <a:lnTo>
                    <a:pt x="116483" y="50099"/>
                  </a:lnTo>
                  <a:lnTo>
                    <a:pt x="112796" y="46408"/>
                  </a:lnTo>
                  <a:lnTo>
                    <a:pt x="109110" y="42717"/>
                  </a:lnTo>
                  <a:lnTo>
                    <a:pt x="105414" y="35336"/>
                  </a:lnTo>
                  <a:lnTo>
                    <a:pt x="101728" y="39027"/>
                  </a:lnTo>
                  <a:lnTo>
                    <a:pt x="101728" y="35336"/>
                  </a:lnTo>
                  <a:lnTo>
                    <a:pt x="98042" y="27955"/>
                  </a:lnTo>
                  <a:lnTo>
                    <a:pt x="83278" y="9503"/>
                  </a:lnTo>
                  <a:lnTo>
                    <a:pt x="79592" y="9503"/>
                  </a:lnTo>
                  <a:lnTo>
                    <a:pt x="68524"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18" name="Google Shape;413;p2">
              <a:extLst>
                <a:ext uri="{FF2B5EF4-FFF2-40B4-BE49-F238E27FC236}">
                  <a16:creationId xmlns:a16="http://schemas.microsoft.com/office/drawing/2014/main" id="{18812020-A007-45D9-88D9-89D8C27A24CC}"/>
                </a:ext>
              </a:extLst>
            </p:cNvPr>
            <p:cNvSpPr/>
            <p:nvPr/>
          </p:nvSpPr>
          <p:spPr>
            <a:xfrm>
              <a:off x="3719608" y="2798899"/>
              <a:ext cx="43320" cy="43320"/>
            </a:xfrm>
            <a:custGeom>
              <a:avLst/>
              <a:gdLst/>
              <a:ahLst/>
              <a:cxnLst/>
              <a:rect l="l" t="t" r="r" b="b"/>
              <a:pathLst>
                <a:path w="19050" h="19050" extrusionOk="0">
                  <a:moveTo>
                    <a:pt x="9498" y="5812"/>
                  </a:moveTo>
                  <a:lnTo>
                    <a:pt x="13184" y="5812"/>
                  </a:lnTo>
                  <a:lnTo>
                    <a:pt x="16870" y="5812"/>
                  </a:lnTo>
                  <a:lnTo>
                    <a:pt x="16870" y="5812"/>
                  </a:lnTo>
                  <a:lnTo>
                    <a:pt x="20566" y="9503"/>
                  </a:lnTo>
                  <a:lnTo>
                    <a:pt x="16870" y="13193"/>
                  </a:lnTo>
                  <a:lnTo>
                    <a:pt x="16870" y="13193"/>
                  </a:lnTo>
                  <a:lnTo>
                    <a:pt x="13184" y="13193"/>
                  </a:lnTo>
                  <a:lnTo>
                    <a:pt x="13184" y="13193"/>
                  </a:lnTo>
                  <a:lnTo>
                    <a:pt x="13184" y="13193"/>
                  </a:lnTo>
                  <a:lnTo>
                    <a:pt x="13184" y="16883"/>
                  </a:lnTo>
                  <a:lnTo>
                    <a:pt x="13184" y="16883"/>
                  </a:lnTo>
                  <a:lnTo>
                    <a:pt x="13184" y="16883"/>
                  </a:lnTo>
                  <a:lnTo>
                    <a:pt x="9498" y="13193"/>
                  </a:lnTo>
                  <a:lnTo>
                    <a:pt x="9498" y="13193"/>
                  </a:lnTo>
                  <a:lnTo>
                    <a:pt x="9498" y="9503"/>
                  </a:lnTo>
                  <a:lnTo>
                    <a:pt x="5812" y="9503"/>
                  </a:lnTo>
                  <a:lnTo>
                    <a:pt x="5812" y="5812"/>
                  </a:lnTo>
                  <a:lnTo>
                    <a:pt x="9498" y="5812"/>
                  </a:lnTo>
                  <a:lnTo>
                    <a:pt x="9498"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19" name="Google Shape;414;p2">
              <a:extLst>
                <a:ext uri="{FF2B5EF4-FFF2-40B4-BE49-F238E27FC236}">
                  <a16:creationId xmlns:a16="http://schemas.microsoft.com/office/drawing/2014/main" id="{88A4C8F0-9B57-4AFA-B2B8-5C973CED4208}"/>
                </a:ext>
              </a:extLst>
            </p:cNvPr>
            <p:cNvSpPr/>
            <p:nvPr/>
          </p:nvSpPr>
          <p:spPr>
            <a:xfrm>
              <a:off x="3224634" y="2639443"/>
              <a:ext cx="216600" cy="324900"/>
            </a:xfrm>
            <a:custGeom>
              <a:avLst/>
              <a:gdLst/>
              <a:ahLst/>
              <a:cxnLst/>
              <a:rect l="l" t="t" r="r" b="b"/>
              <a:pathLst>
                <a:path w="95250" h="142875" extrusionOk="0">
                  <a:moveTo>
                    <a:pt x="9498" y="5812"/>
                  </a:moveTo>
                  <a:lnTo>
                    <a:pt x="9498" y="5812"/>
                  </a:lnTo>
                  <a:lnTo>
                    <a:pt x="16880" y="5812"/>
                  </a:lnTo>
                  <a:lnTo>
                    <a:pt x="42702" y="16883"/>
                  </a:lnTo>
                  <a:lnTo>
                    <a:pt x="46388" y="20574"/>
                  </a:lnTo>
                  <a:lnTo>
                    <a:pt x="64838" y="39027"/>
                  </a:lnTo>
                  <a:lnTo>
                    <a:pt x="72220" y="50099"/>
                  </a:lnTo>
                  <a:lnTo>
                    <a:pt x="72220" y="53789"/>
                  </a:lnTo>
                  <a:lnTo>
                    <a:pt x="90660" y="83314"/>
                  </a:lnTo>
                  <a:lnTo>
                    <a:pt x="98042" y="101766"/>
                  </a:lnTo>
                  <a:lnTo>
                    <a:pt x="98042" y="105457"/>
                  </a:lnTo>
                  <a:lnTo>
                    <a:pt x="94346" y="105457"/>
                  </a:lnTo>
                  <a:lnTo>
                    <a:pt x="90660" y="109148"/>
                  </a:lnTo>
                  <a:lnTo>
                    <a:pt x="83288" y="112838"/>
                  </a:lnTo>
                  <a:lnTo>
                    <a:pt x="79592" y="127601"/>
                  </a:lnTo>
                  <a:lnTo>
                    <a:pt x="75906" y="134982"/>
                  </a:lnTo>
                  <a:lnTo>
                    <a:pt x="79592" y="134982"/>
                  </a:lnTo>
                  <a:lnTo>
                    <a:pt x="79592" y="134982"/>
                  </a:lnTo>
                  <a:lnTo>
                    <a:pt x="75906" y="142363"/>
                  </a:lnTo>
                  <a:lnTo>
                    <a:pt x="75906" y="134982"/>
                  </a:lnTo>
                  <a:lnTo>
                    <a:pt x="75906" y="134982"/>
                  </a:lnTo>
                  <a:lnTo>
                    <a:pt x="79592" y="127601"/>
                  </a:lnTo>
                  <a:lnTo>
                    <a:pt x="83288" y="112838"/>
                  </a:lnTo>
                  <a:lnTo>
                    <a:pt x="86974" y="109148"/>
                  </a:lnTo>
                  <a:lnTo>
                    <a:pt x="94346" y="105457"/>
                  </a:lnTo>
                  <a:lnTo>
                    <a:pt x="98042" y="105457"/>
                  </a:lnTo>
                  <a:lnTo>
                    <a:pt x="98042" y="101766"/>
                  </a:lnTo>
                  <a:lnTo>
                    <a:pt x="90660" y="83314"/>
                  </a:lnTo>
                  <a:lnTo>
                    <a:pt x="64838" y="39027"/>
                  </a:lnTo>
                  <a:lnTo>
                    <a:pt x="46388" y="20574"/>
                  </a:lnTo>
                  <a:lnTo>
                    <a:pt x="42702" y="16883"/>
                  </a:lnTo>
                  <a:lnTo>
                    <a:pt x="20566" y="5812"/>
                  </a:lnTo>
                  <a:lnTo>
                    <a:pt x="16880" y="13193"/>
                  </a:lnTo>
                  <a:lnTo>
                    <a:pt x="16880" y="13193"/>
                  </a:lnTo>
                  <a:lnTo>
                    <a:pt x="13193" y="13193"/>
                  </a:lnTo>
                  <a:lnTo>
                    <a:pt x="9498" y="13193"/>
                  </a:lnTo>
                  <a:lnTo>
                    <a:pt x="5812" y="13193"/>
                  </a:lnTo>
                  <a:lnTo>
                    <a:pt x="9498" y="13193"/>
                  </a:lnTo>
                  <a:lnTo>
                    <a:pt x="13193" y="9503"/>
                  </a:lnTo>
                  <a:lnTo>
                    <a:pt x="16880" y="5812"/>
                  </a:lnTo>
                  <a:lnTo>
                    <a:pt x="13193" y="5812"/>
                  </a:lnTo>
                  <a:lnTo>
                    <a:pt x="13193" y="5812"/>
                  </a:lnTo>
                  <a:lnTo>
                    <a:pt x="9498"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20" name="Google Shape;415;p2">
              <a:extLst>
                <a:ext uri="{FF2B5EF4-FFF2-40B4-BE49-F238E27FC236}">
                  <a16:creationId xmlns:a16="http://schemas.microsoft.com/office/drawing/2014/main" id="{5B7BD34F-E70A-4CEE-B3A8-045AF329AB77}"/>
                </a:ext>
              </a:extLst>
            </p:cNvPr>
            <p:cNvSpPr/>
            <p:nvPr/>
          </p:nvSpPr>
          <p:spPr>
            <a:xfrm>
              <a:off x="3107186" y="1942876"/>
              <a:ext cx="194940" cy="151620"/>
            </a:xfrm>
            <a:custGeom>
              <a:avLst/>
              <a:gdLst/>
              <a:ahLst/>
              <a:cxnLst/>
              <a:rect l="l" t="t" r="r" b="b"/>
              <a:pathLst>
                <a:path w="85725" h="66675" extrusionOk="0">
                  <a:moveTo>
                    <a:pt x="5812" y="68551"/>
                  </a:moveTo>
                  <a:lnTo>
                    <a:pt x="20568" y="53789"/>
                  </a:lnTo>
                  <a:lnTo>
                    <a:pt x="24258" y="50098"/>
                  </a:lnTo>
                  <a:lnTo>
                    <a:pt x="64843" y="13192"/>
                  </a:lnTo>
                  <a:lnTo>
                    <a:pt x="68529" y="13192"/>
                  </a:lnTo>
                  <a:lnTo>
                    <a:pt x="79597" y="9502"/>
                  </a:lnTo>
                  <a:lnTo>
                    <a:pt x="83283" y="9502"/>
                  </a:lnTo>
                  <a:lnTo>
                    <a:pt x="83283" y="9502"/>
                  </a:lnTo>
                  <a:lnTo>
                    <a:pt x="83283" y="9502"/>
                  </a:lnTo>
                  <a:lnTo>
                    <a:pt x="83283" y="5812"/>
                  </a:lnTo>
                  <a:lnTo>
                    <a:pt x="83283" y="9502"/>
                  </a:lnTo>
                  <a:lnTo>
                    <a:pt x="86969" y="13192"/>
                  </a:lnTo>
                  <a:lnTo>
                    <a:pt x="83283" y="9502"/>
                  </a:lnTo>
                  <a:lnTo>
                    <a:pt x="79597" y="9502"/>
                  </a:lnTo>
                  <a:lnTo>
                    <a:pt x="79597" y="9502"/>
                  </a:lnTo>
                  <a:lnTo>
                    <a:pt x="72215" y="13192"/>
                  </a:lnTo>
                  <a:lnTo>
                    <a:pt x="64843" y="13192"/>
                  </a:lnTo>
                  <a:lnTo>
                    <a:pt x="31636" y="46407"/>
                  </a:lnTo>
                  <a:lnTo>
                    <a:pt x="27947" y="50098"/>
                  </a:lnTo>
                  <a:lnTo>
                    <a:pt x="27947" y="50098"/>
                  </a:lnTo>
                  <a:lnTo>
                    <a:pt x="24258" y="50098"/>
                  </a:lnTo>
                  <a:lnTo>
                    <a:pt x="20568" y="53789"/>
                  </a:lnTo>
                  <a:lnTo>
                    <a:pt x="5812" y="68551"/>
                  </a:lnTo>
                  <a:lnTo>
                    <a:pt x="5812" y="68551"/>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21" name="Google Shape;416;p2">
              <a:extLst>
                <a:ext uri="{FF2B5EF4-FFF2-40B4-BE49-F238E27FC236}">
                  <a16:creationId xmlns:a16="http://schemas.microsoft.com/office/drawing/2014/main" id="{96E1BEFF-722D-494C-991B-A52B9A4FEACD}"/>
                </a:ext>
              </a:extLst>
            </p:cNvPr>
            <p:cNvSpPr/>
            <p:nvPr/>
          </p:nvSpPr>
          <p:spPr>
            <a:xfrm>
              <a:off x="3316907" y="1942876"/>
              <a:ext cx="43320" cy="64980"/>
            </a:xfrm>
            <a:custGeom>
              <a:avLst/>
              <a:gdLst/>
              <a:ahLst/>
              <a:cxnLst/>
              <a:rect l="l" t="t" r="r" b="b"/>
              <a:pathLst>
                <a:path w="19050" h="28575" extrusionOk="0">
                  <a:moveTo>
                    <a:pt x="9507" y="16883"/>
                  </a:moveTo>
                  <a:lnTo>
                    <a:pt x="9507" y="13192"/>
                  </a:lnTo>
                  <a:lnTo>
                    <a:pt x="5812" y="5812"/>
                  </a:lnTo>
                  <a:lnTo>
                    <a:pt x="5812" y="5812"/>
                  </a:lnTo>
                  <a:lnTo>
                    <a:pt x="9507" y="5812"/>
                  </a:lnTo>
                  <a:lnTo>
                    <a:pt x="9507" y="9502"/>
                  </a:lnTo>
                  <a:lnTo>
                    <a:pt x="13193" y="9502"/>
                  </a:lnTo>
                  <a:lnTo>
                    <a:pt x="16880" y="9502"/>
                  </a:lnTo>
                  <a:lnTo>
                    <a:pt x="16880" y="13192"/>
                  </a:lnTo>
                  <a:lnTo>
                    <a:pt x="16880" y="16883"/>
                  </a:lnTo>
                  <a:lnTo>
                    <a:pt x="20575" y="16883"/>
                  </a:lnTo>
                  <a:lnTo>
                    <a:pt x="20575" y="20573"/>
                  </a:lnTo>
                  <a:lnTo>
                    <a:pt x="20575" y="20573"/>
                  </a:lnTo>
                  <a:lnTo>
                    <a:pt x="20575" y="24264"/>
                  </a:lnTo>
                  <a:lnTo>
                    <a:pt x="16880" y="24264"/>
                  </a:lnTo>
                  <a:lnTo>
                    <a:pt x="13193" y="20573"/>
                  </a:lnTo>
                  <a:lnTo>
                    <a:pt x="9507" y="16883"/>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22" name="Google Shape;417;p2">
              <a:extLst>
                <a:ext uri="{FF2B5EF4-FFF2-40B4-BE49-F238E27FC236}">
                  <a16:creationId xmlns:a16="http://schemas.microsoft.com/office/drawing/2014/main" id="{06C5E82B-94AD-4AAA-B4AD-FBA8299D2B48}"/>
                </a:ext>
              </a:extLst>
            </p:cNvPr>
            <p:cNvSpPr/>
            <p:nvPr/>
          </p:nvSpPr>
          <p:spPr>
            <a:xfrm>
              <a:off x="4197797" y="1221131"/>
              <a:ext cx="1169638" cy="1147977"/>
            </a:xfrm>
            <a:custGeom>
              <a:avLst/>
              <a:gdLst/>
              <a:ahLst/>
              <a:cxnLst/>
              <a:rect l="l" t="t" r="r" b="b"/>
              <a:pathLst>
                <a:path w="514350" h="504825" extrusionOk="0">
                  <a:moveTo>
                    <a:pt x="275121" y="5812"/>
                  </a:moveTo>
                  <a:lnTo>
                    <a:pt x="267740" y="9502"/>
                  </a:lnTo>
                  <a:lnTo>
                    <a:pt x="238222" y="13193"/>
                  </a:lnTo>
                  <a:lnTo>
                    <a:pt x="234535" y="16883"/>
                  </a:lnTo>
                  <a:lnTo>
                    <a:pt x="223467" y="20574"/>
                  </a:lnTo>
                  <a:lnTo>
                    <a:pt x="219781" y="20574"/>
                  </a:lnTo>
                  <a:lnTo>
                    <a:pt x="216095" y="24264"/>
                  </a:lnTo>
                  <a:lnTo>
                    <a:pt x="208713" y="24264"/>
                  </a:lnTo>
                  <a:lnTo>
                    <a:pt x="201331" y="31645"/>
                  </a:lnTo>
                  <a:lnTo>
                    <a:pt x="197645" y="31645"/>
                  </a:lnTo>
                  <a:lnTo>
                    <a:pt x="193959" y="31645"/>
                  </a:lnTo>
                  <a:lnTo>
                    <a:pt x="190263" y="31645"/>
                  </a:lnTo>
                  <a:lnTo>
                    <a:pt x="182891" y="35336"/>
                  </a:lnTo>
                  <a:lnTo>
                    <a:pt x="175509" y="39027"/>
                  </a:lnTo>
                  <a:lnTo>
                    <a:pt x="171823" y="35336"/>
                  </a:lnTo>
                  <a:lnTo>
                    <a:pt x="168127" y="39027"/>
                  </a:lnTo>
                  <a:lnTo>
                    <a:pt x="149687" y="39027"/>
                  </a:lnTo>
                  <a:lnTo>
                    <a:pt x="138619" y="42717"/>
                  </a:lnTo>
                  <a:lnTo>
                    <a:pt x="123864" y="46408"/>
                  </a:lnTo>
                  <a:lnTo>
                    <a:pt x="116483" y="46408"/>
                  </a:lnTo>
                  <a:lnTo>
                    <a:pt x="109101" y="50098"/>
                  </a:lnTo>
                  <a:lnTo>
                    <a:pt x="101728" y="50098"/>
                  </a:lnTo>
                  <a:lnTo>
                    <a:pt x="90660" y="53789"/>
                  </a:lnTo>
                  <a:lnTo>
                    <a:pt x="79592" y="57480"/>
                  </a:lnTo>
                  <a:lnTo>
                    <a:pt x="75906" y="61170"/>
                  </a:lnTo>
                  <a:lnTo>
                    <a:pt x="75906" y="64861"/>
                  </a:lnTo>
                  <a:lnTo>
                    <a:pt x="68524" y="68551"/>
                  </a:lnTo>
                  <a:lnTo>
                    <a:pt x="64838" y="64861"/>
                  </a:lnTo>
                  <a:lnTo>
                    <a:pt x="61142" y="61170"/>
                  </a:lnTo>
                  <a:lnTo>
                    <a:pt x="42702" y="50098"/>
                  </a:lnTo>
                  <a:lnTo>
                    <a:pt x="39006" y="50098"/>
                  </a:lnTo>
                  <a:lnTo>
                    <a:pt x="24252" y="57480"/>
                  </a:lnTo>
                  <a:lnTo>
                    <a:pt x="24252" y="53789"/>
                  </a:lnTo>
                  <a:lnTo>
                    <a:pt x="20566" y="53789"/>
                  </a:lnTo>
                  <a:lnTo>
                    <a:pt x="20566" y="57480"/>
                  </a:lnTo>
                  <a:lnTo>
                    <a:pt x="16870" y="57480"/>
                  </a:lnTo>
                  <a:lnTo>
                    <a:pt x="16870" y="53789"/>
                  </a:lnTo>
                  <a:lnTo>
                    <a:pt x="13184" y="57480"/>
                  </a:lnTo>
                  <a:lnTo>
                    <a:pt x="16870" y="61170"/>
                  </a:lnTo>
                  <a:lnTo>
                    <a:pt x="20566" y="61170"/>
                  </a:lnTo>
                  <a:lnTo>
                    <a:pt x="24252" y="64861"/>
                  </a:lnTo>
                  <a:lnTo>
                    <a:pt x="27938" y="64861"/>
                  </a:lnTo>
                  <a:lnTo>
                    <a:pt x="31634" y="68551"/>
                  </a:lnTo>
                  <a:lnTo>
                    <a:pt x="35320" y="68551"/>
                  </a:lnTo>
                  <a:lnTo>
                    <a:pt x="35320" y="72242"/>
                  </a:lnTo>
                  <a:lnTo>
                    <a:pt x="31634" y="72242"/>
                  </a:lnTo>
                  <a:lnTo>
                    <a:pt x="27938" y="72242"/>
                  </a:lnTo>
                  <a:lnTo>
                    <a:pt x="24252" y="72242"/>
                  </a:lnTo>
                  <a:lnTo>
                    <a:pt x="24252" y="68551"/>
                  </a:lnTo>
                  <a:lnTo>
                    <a:pt x="16870" y="64861"/>
                  </a:lnTo>
                  <a:lnTo>
                    <a:pt x="16870" y="61170"/>
                  </a:lnTo>
                  <a:lnTo>
                    <a:pt x="9498" y="61170"/>
                  </a:lnTo>
                  <a:lnTo>
                    <a:pt x="5812" y="68551"/>
                  </a:lnTo>
                  <a:lnTo>
                    <a:pt x="9498" y="68551"/>
                  </a:lnTo>
                  <a:lnTo>
                    <a:pt x="13184" y="72242"/>
                  </a:lnTo>
                  <a:lnTo>
                    <a:pt x="16870" y="72242"/>
                  </a:lnTo>
                  <a:lnTo>
                    <a:pt x="16870" y="75933"/>
                  </a:lnTo>
                  <a:lnTo>
                    <a:pt x="13184" y="79623"/>
                  </a:lnTo>
                  <a:lnTo>
                    <a:pt x="9498" y="75933"/>
                  </a:lnTo>
                  <a:lnTo>
                    <a:pt x="9498" y="79623"/>
                  </a:lnTo>
                  <a:lnTo>
                    <a:pt x="13184" y="83314"/>
                  </a:lnTo>
                  <a:lnTo>
                    <a:pt x="16870" y="83314"/>
                  </a:lnTo>
                  <a:lnTo>
                    <a:pt x="20566" y="83314"/>
                  </a:lnTo>
                  <a:lnTo>
                    <a:pt x="24252" y="83314"/>
                  </a:lnTo>
                  <a:lnTo>
                    <a:pt x="27938" y="83314"/>
                  </a:lnTo>
                  <a:lnTo>
                    <a:pt x="31634" y="83314"/>
                  </a:lnTo>
                  <a:lnTo>
                    <a:pt x="31634" y="87005"/>
                  </a:lnTo>
                  <a:lnTo>
                    <a:pt x="24252" y="87005"/>
                  </a:lnTo>
                  <a:lnTo>
                    <a:pt x="20566" y="87005"/>
                  </a:lnTo>
                  <a:lnTo>
                    <a:pt x="20566" y="90695"/>
                  </a:lnTo>
                  <a:lnTo>
                    <a:pt x="24252" y="90695"/>
                  </a:lnTo>
                  <a:lnTo>
                    <a:pt x="27938" y="90695"/>
                  </a:lnTo>
                  <a:lnTo>
                    <a:pt x="31634" y="90695"/>
                  </a:lnTo>
                  <a:lnTo>
                    <a:pt x="35320" y="87005"/>
                  </a:lnTo>
                  <a:lnTo>
                    <a:pt x="35320" y="90695"/>
                  </a:lnTo>
                  <a:lnTo>
                    <a:pt x="35320" y="94385"/>
                  </a:lnTo>
                  <a:lnTo>
                    <a:pt x="31634" y="94385"/>
                  </a:lnTo>
                  <a:lnTo>
                    <a:pt x="35320" y="98075"/>
                  </a:lnTo>
                  <a:lnTo>
                    <a:pt x="39006" y="94385"/>
                  </a:lnTo>
                  <a:lnTo>
                    <a:pt x="42702" y="94385"/>
                  </a:lnTo>
                  <a:lnTo>
                    <a:pt x="42702" y="98075"/>
                  </a:lnTo>
                  <a:lnTo>
                    <a:pt x="39006" y="101766"/>
                  </a:lnTo>
                  <a:lnTo>
                    <a:pt x="31634" y="101766"/>
                  </a:lnTo>
                  <a:lnTo>
                    <a:pt x="31634" y="105457"/>
                  </a:lnTo>
                  <a:lnTo>
                    <a:pt x="35320" y="109147"/>
                  </a:lnTo>
                  <a:lnTo>
                    <a:pt x="39006" y="105457"/>
                  </a:lnTo>
                  <a:lnTo>
                    <a:pt x="42702" y="105457"/>
                  </a:lnTo>
                  <a:lnTo>
                    <a:pt x="46388" y="105457"/>
                  </a:lnTo>
                  <a:lnTo>
                    <a:pt x="50074" y="105457"/>
                  </a:lnTo>
                  <a:lnTo>
                    <a:pt x="53770" y="109147"/>
                  </a:lnTo>
                  <a:lnTo>
                    <a:pt x="57456" y="109147"/>
                  </a:lnTo>
                  <a:lnTo>
                    <a:pt x="57456" y="131291"/>
                  </a:lnTo>
                  <a:lnTo>
                    <a:pt x="57456" y="134981"/>
                  </a:lnTo>
                  <a:lnTo>
                    <a:pt x="61142" y="134981"/>
                  </a:lnTo>
                  <a:lnTo>
                    <a:pt x="61142" y="138672"/>
                  </a:lnTo>
                  <a:lnTo>
                    <a:pt x="57456" y="138672"/>
                  </a:lnTo>
                  <a:lnTo>
                    <a:pt x="53770" y="142363"/>
                  </a:lnTo>
                  <a:lnTo>
                    <a:pt x="53770" y="146053"/>
                  </a:lnTo>
                  <a:lnTo>
                    <a:pt x="50074" y="149744"/>
                  </a:lnTo>
                  <a:lnTo>
                    <a:pt x="46388" y="149744"/>
                  </a:lnTo>
                  <a:lnTo>
                    <a:pt x="42702" y="153435"/>
                  </a:lnTo>
                  <a:lnTo>
                    <a:pt x="42702" y="157125"/>
                  </a:lnTo>
                  <a:lnTo>
                    <a:pt x="42702" y="160816"/>
                  </a:lnTo>
                  <a:lnTo>
                    <a:pt x="42702" y="164506"/>
                  </a:lnTo>
                  <a:lnTo>
                    <a:pt x="46388" y="164506"/>
                  </a:lnTo>
                  <a:lnTo>
                    <a:pt x="42702" y="168197"/>
                  </a:lnTo>
                  <a:lnTo>
                    <a:pt x="39006" y="168197"/>
                  </a:lnTo>
                  <a:lnTo>
                    <a:pt x="39006" y="171888"/>
                  </a:lnTo>
                  <a:lnTo>
                    <a:pt x="35320" y="175578"/>
                  </a:lnTo>
                  <a:lnTo>
                    <a:pt x="35320" y="179268"/>
                  </a:lnTo>
                  <a:lnTo>
                    <a:pt x="35320" y="182958"/>
                  </a:lnTo>
                  <a:lnTo>
                    <a:pt x="31634" y="186649"/>
                  </a:lnTo>
                  <a:lnTo>
                    <a:pt x="27938" y="190340"/>
                  </a:lnTo>
                  <a:lnTo>
                    <a:pt x="24252" y="194030"/>
                  </a:lnTo>
                  <a:lnTo>
                    <a:pt x="24252" y="197721"/>
                  </a:lnTo>
                  <a:lnTo>
                    <a:pt x="27938" y="197721"/>
                  </a:lnTo>
                  <a:lnTo>
                    <a:pt x="31634" y="197721"/>
                  </a:lnTo>
                  <a:lnTo>
                    <a:pt x="31634" y="205102"/>
                  </a:lnTo>
                  <a:lnTo>
                    <a:pt x="31634" y="208793"/>
                  </a:lnTo>
                  <a:lnTo>
                    <a:pt x="31634" y="212483"/>
                  </a:lnTo>
                  <a:lnTo>
                    <a:pt x="27938" y="219865"/>
                  </a:lnTo>
                  <a:lnTo>
                    <a:pt x="24252" y="223555"/>
                  </a:lnTo>
                  <a:lnTo>
                    <a:pt x="20566" y="223555"/>
                  </a:lnTo>
                  <a:lnTo>
                    <a:pt x="16870" y="227246"/>
                  </a:lnTo>
                  <a:lnTo>
                    <a:pt x="16870" y="230936"/>
                  </a:lnTo>
                  <a:lnTo>
                    <a:pt x="13184" y="238318"/>
                  </a:lnTo>
                  <a:lnTo>
                    <a:pt x="9498" y="242008"/>
                  </a:lnTo>
                  <a:lnTo>
                    <a:pt x="9498" y="249389"/>
                  </a:lnTo>
                  <a:lnTo>
                    <a:pt x="9498" y="256771"/>
                  </a:lnTo>
                  <a:lnTo>
                    <a:pt x="9498" y="260461"/>
                  </a:lnTo>
                  <a:lnTo>
                    <a:pt x="9498" y="275223"/>
                  </a:lnTo>
                  <a:lnTo>
                    <a:pt x="13184" y="278913"/>
                  </a:lnTo>
                  <a:lnTo>
                    <a:pt x="16870" y="282604"/>
                  </a:lnTo>
                  <a:lnTo>
                    <a:pt x="20566" y="289985"/>
                  </a:lnTo>
                  <a:lnTo>
                    <a:pt x="24252" y="289985"/>
                  </a:lnTo>
                  <a:lnTo>
                    <a:pt x="31634" y="289985"/>
                  </a:lnTo>
                  <a:lnTo>
                    <a:pt x="39006" y="289985"/>
                  </a:lnTo>
                  <a:lnTo>
                    <a:pt x="46388" y="289985"/>
                  </a:lnTo>
                  <a:lnTo>
                    <a:pt x="50074" y="289985"/>
                  </a:lnTo>
                  <a:lnTo>
                    <a:pt x="53770" y="293676"/>
                  </a:lnTo>
                  <a:lnTo>
                    <a:pt x="61142" y="297366"/>
                  </a:lnTo>
                  <a:lnTo>
                    <a:pt x="64838" y="301057"/>
                  </a:lnTo>
                  <a:lnTo>
                    <a:pt x="64838" y="304748"/>
                  </a:lnTo>
                  <a:lnTo>
                    <a:pt x="75906" y="308438"/>
                  </a:lnTo>
                  <a:lnTo>
                    <a:pt x="86974" y="312129"/>
                  </a:lnTo>
                  <a:lnTo>
                    <a:pt x="90660" y="312129"/>
                  </a:lnTo>
                  <a:lnTo>
                    <a:pt x="94346" y="297366"/>
                  </a:lnTo>
                  <a:lnTo>
                    <a:pt x="98033" y="297366"/>
                  </a:lnTo>
                  <a:lnTo>
                    <a:pt x="98033" y="286295"/>
                  </a:lnTo>
                  <a:lnTo>
                    <a:pt x="98033" y="282604"/>
                  </a:lnTo>
                  <a:lnTo>
                    <a:pt x="105414" y="264151"/>
                  </a:lnTo>
                  <a:lnTo>
                    <a:pt x="105414" y="260461"/>
                  </a:lnTo>
                  <a:lnTo>
                    <a:pt x="109101" y="256771"/>
                  </a:lnTo>
                  <a:lnTo>
                    <a:pt x="112796" y="249389"/>
                  </a:lnTo>
                  <a:lnTo>
                    <a:pt x="116483" y="245699"/>
                  </a:lnTo>
                  <a:lnTo>
                    <a:pt x="116483" y="242008"/>
                  </a:lnTo>
                  <a:lnTo>
                    <a:pt x="120169" y="238318"/>
                  </a:lnTo>
                  <a:lnTo>
                    <a:pt x="127551" y="234627"/>
                  </a:lnTo>
                  <a:lnTo>
                    <a:pt x="134932" y="230936"/>
                  </a:lnTo>
                  <a:lnTo>
                    <a:pt x="134932" y="227246"/>
                  </a:lnTo>
                  <a:lnTo>
                    <a:pt x="138619" y="223555"/>
                  </a:lnTo>
                  <a:lnTo>
                    <a:pt x="146001" y="219865"/>
                  </a:lnTo>
                  <a:lnTo>
                    <a:pt x="153373" y="219865"/>
                  </a:lnTo>
                  <a:lnTo>
                    <a:pt x="157069" y="219865"/>
                  </a:lnTo>
                  <a:lnTo>
                    <a:pt x="160755" y="223555"/>
                  </a:lnTo>
                  <a:lnTo>
                    <a:pt x="164441" y="219865"/>
                  </a:lnTo>
                  <a:lnTo>
                    <a:pt x="168127" y="223555"/>
                  </a:lnTo>
                  <a:lnTo>
                    <a:pt x="175509" y="223555"/>
                  </a:lnTo>
                  <a:lnTo>
                    <a:pt x="179195" y="234627"/>
                  </a:lnTo>
                  <a:lnTo>
                    <a:pt x="182891" y="238318"/>
                  </a:lnTo>
                  <a:lnTo>
                    <a:pt x="186577" y="234627"/>
                  </a:lnTo>
                  <a:lnTo>
                    <a:pt x="190263" y="245699"/>
                  </a:lnTo>
                  <a:lnTo>
                    <a:pt x="190263" y="249389"/>
                  </a:lnTo>
                  <a:lnTo>
                    <a:pt x="193959" y="253080"/>
                  </a:lnTo>
                  <a:lnTo>
                    <a:pt x="201331" y="249389"/>
                  </a:lnTo>
                  <a:lnTo>
                    <a:pt x="201331" y="253080"/>
                  </a:lnTo>
                  <a:lnTo>
                    <a:pt x="201331" y="256771"/>
                  </a:lnTo>
                  <a:lnTo>
                    <a:pt x="205027" y="260461"/>
                  </a:lnTo>
                  <a:lnTo>
                    <a:pt x="205027" y="264151"/>
                  </a:lnTo>
                  <a:lnTo>
                    <a:pt x="212399" y="264151"/>
                  </a:lnTo>
                  <a:lnTo>
                    <a:pt x="212399" y="267842"/>
                  </a:lnTo>
                  <a:lnTo>
                    <a:pt x="216095" y="271532"/>
                  </a:lnTo>
                  <a:lnTo>
                    <a:pt x="219781" y="275223"/>
                  </a:lnTo>
                  <a:lnTo>
                    <a:pt x="223467" y="278913"/>
                  </a:lnTo>
                  <a:lnTo>
                    <a:pt x="223467" y="282604"/>
                  </a:lnTo>
                  <a:lnTo>
                    <a:pt x="227163" y="282604"/>
                  </a:lnTo>
                  <a:lnTo>
                    <a:pt x="223467" y="286295"/>
                  </a:lnTo>
                  <a:lnTo>
                    <a:pt x="227163" y="289985"/>
                  </a:lnTo>
                  <a:lnTo>
                    <a:pt x="227163" y="293676"/>
                  </a:lnTo>
                  <a:lnTo>
                    <a:pt x="245603" y="286295"/>
                  </a:lnTo>
                  <a:lnTo>
                    <a:pt x="249290" y="286295"/>
                  </a:lnTo>
                  <a:lnTo>
                    <a:pt x="256672" y="282604"/>
                  </a:lnTo>
                  <a:lnTo>
                    <a:pt x="267740" y="282604"/>
                  </a:lnTo>
                  <a:lnTo>
                    <a:pt x="271426" y="282604"/>
                  </a:lnTo>
                  <a:lnTo>
                    <a:pt x="275121" y="282604"/>
                  </a:lnTo>
                  <a:lnTo>
                    <a:pt x="278808" y="286295"/>
                  </a:lnTo>
                  <a:lnTo>
                    <a:pt x="282494" y="286295"/>
                  </a:lnTo>
                  <a:lnTo>
                    <a:pt x="282494" y="289985"/>
                  </a:lnTo>
                  <a:lnTo>
                    <a:pt x="297258" y="301057"/>
                  </a:lnTo>
                  <a:lnTo>
                    <a:pt x="300944" y="308438"/>
                  </a:lnTo>
                  <a:lnTo>
                    <a:pt x="315698" y="319510"/>
                  </a:lnTo>
                  <a:lnTo>
                    <a:pt x="315698" y="323201"/>
                  </a:lnTo>
                  <a:lnTo>
                    <a:pt x="326766" y="334273"/>
                  </a:lnTo>
                  <a:lnTo>
                    <a:pt x="337834" y="345344"/>
                  </a:lnTo>
                  <a:lnTo>
                    <a:pt x="356284" y="363796"/>
                  </a:lnTo>
                  <a:lnTo>
                    <a:pt x="359970" y="367487"/>
                  </a:lnTo>
                  <a:lnTo>
                    <a:pt x="367352" y="374868"/>
                  </a:lnTo>
                  <a:lnTo>
                    <a:pt x="374724" y="382249"/>
                  </a:lnTo>
                  <a:lnTo>
                    <a:pt x="378410" y="385940"/>
                  </a:lnTo>
                  <a:lnTo>
                    <a:pt x="378410" y="389631"/>
                  </a:lnTo>
                  <a:lnTo>
                    <a:pt x="382106" y="393321"/>
                  </a:lnTo>
                  <a:lnTo>
                    <a:pt x="385792" y="397012"/>
                  </a:lnTo>
                  <a:lnTo>
                    <a:pt x="389479" y="404393"/>
                  </a:lnTo>
                  <a:lnTo>
                    <a:pt x="393174" y="411774"/>
                  </a:lnTo>
                  <a:lnTo>
                    <a:pt x="396861" y="411774"/>
                  </a:lnTo>
                  <a:lnTo>
                    <a:pt x="396861" y="415465"/>
                  </a:lnTo>
                  <a:lnTo>
                    <a:pt x="400547" y="415465"/>
                  </a:lnTo>
                  <a:lnTo>
                    <a:pt x="407928" y="426537"/>
                  </a:lnTo>
                  <a:lnTo>
                    <a:pt x="411615" y="433917"/>
                  </a:lnTo>
                  <a:lnTo>
                    <a:pt x="415310" y="437608"/>
                  </a:lnTo>
                  <a:lnTo>
                    <a:pt x="418997" y="441298"/>
                  </a:lnTo>
                  <a:lnTo>
                    <a:pt x="426378" y="441298"/>
                  </a:lnTo>
                  <a:lnTo>
                    <a:pt x="426378" y="448680"/>
                  </a:lnTo>
                  <a:lnTo>
                    <a:pt x="422683" y="452370"/>
                  </a:lnTo>
                  <a:lnTo>
                    <a:pt x="415310" y="474514"/>
                  </a:lnTo>
                  <a:lnTo>
                    <a:pt x="415310" y="478204"/>
                  </a:lnTo>
                  <a:lnTo>
                    <a:pt x="426378" y="478204"/>
                  </a:lnTo>
                  <a:lnTo>
                    <a:pt x="426378" y="481895"/>
                  </a:lnTo>
                  <a:lnTo>
                    <a:pt x="430065" y="481895"/>
                  </a:lnTo>
                  <a:lnTo>
                    <a:pt x="437447" y="492967"/>
                  </a:lnTo>
                  <a:lnTo>
                    <a:pt x="441133" y="496657"/>
                  </a:lnTo>
                  <a:lnTo>
                    <a:pt x="444819" y="492967"/>
                  </a:lnTo>
                  <a:lnTo>
                    <a:pt x="444819" y="496657"/>
                  </a:lnTo>
                  <a:lnTo>
                    <a:pt x="441133" y="496657"/>
                  </a:lnTo>
                  <a:lnTo>
                    <a:pt x="441133" y="504039"/>
                  </a:lnTo>
                  <a:lnTo>
                    <a:pt x="452201" y="504039"/>
                  </a:lnTo>
                  <a:lnTo>
                    <a:pt x="448505" y="496657"/>
                  </a:lnTo>
                  <a:lnTo>
                    <a:pt x="448505" y="492967"/>
                  </a:lnTo>
                  <a:lnTo>
                    <a:pt x="455887" y="481895"/>
                  </a:lnTo>
                  <a:lnTo>
                    <a:pt x="478023" y="444989"/>
                  </a:lnTo>
                  <a:lnTo>
                    <a:pt x="492777" y="419156"/>
                  </a:lnTo>
                  <a:lnTo>
                    <a:pt x="500159" y="389631"/>
                  </a:lnTo>
                  <a:lnTo>
                    <a:pt x="503845" y="371178"/>
                  </a:lnTo>
                  <a:lnTo>
                    <a:pt x="507541" y="367487"/>
                  </a:lnTo>
                  <a:lnTo>
                    <a:pt x="507541" y="363796"/>
                  </a:lnTo>
                  <a:lnTo>
                    <a:pt x="500159" y="330582"/>
                  </a:lnTo>
                  <a:lnTo>
                    <a:pt x="500159" y="312129"/>
                  </a:lnTo>
                  <a:lnTo>
                    <a:pt x="500159" y="308438"/>
                  </a:lnTo>
                  <a:lnTo>
                    <a:pt x="500159" y="282604"/>
                  </a:lnTo>
                  <a:lnTo>
                    <a:pt x="489091" y="275223"/>
                  </a:lnTo>
                  <a:lnTo>
                    <a:pt x="489091" y="267842"/>
                  </a:lnTo>
                  <a:lnTo>
                    <a:pt x="489091" y="264151"/>
                  </a:lnTo>
                  <a:lnTo>
                    <a:pt x="489091" y="260461"/>
                  </a:lnTo>
                  <a:lnTo>
                    <a:pt x="492777" y="256771"/>
                  </a:lnTo>
                  <a:lnTo>
                    <a:pt x="492777" y="249389"/>
                  </a:lnTo>
                  <a:lnTo>
                    <a:pt x="492777" y="245699"/>
                  </a:lnTo>
                  <a:lnTo>
                    <a:pt x="496473" y="234627"/>
                  </a:lnTo>
                  <a:lnTo>
                    <a:pt x="500159" y="234627"/>
                  </a:lnTo>
                  <a:lnTo>
                    <a:pt x="503845" y="230936"/>
                  </a:lnTo>
                  <a:lnTo>
                    <a:pt x="511227" y="230936"/>
                  </a:lnTo>
                  <a:lnTo>
                    <a:pt x="503845" y="227246"/>
                  </a:lnTo>
                  <a:lnTo>
                    <a:pt x="500159" y="223555"/>
                  </a:lnTo>
                  <a:lnTo>
                    <a:pt x="503845" y="219865"/>
                  </a:lnTo>
                  <a:lnTo>
                    <a:pt x="503845" y="216174"/>
                  </a:lnTo>
                  <a:lnTo>
                    <a:pt x="503845" y="201412"/>
                  </a:lnTo>
                  <a:lnTo>
                    <a:pt x="500159" y="190340"/>
                  </a:lnTo>
                  <a:lnTo>
                    <a:pt x="500159" y="186649"/>
                  </a:lnTo>
                  <a:lnTo>
                    <a:pt x="496473" y="186649"/>
                  </a:lnTo>
                  <a:lnTo>
                    <a:pt x="485405" y="182958"/>
                  </a:lnTo>
                  <a:lnTo>
                    <a:pt x="481709" y="182958"/>
                  </a:lnTo>
                  <a:lnTo>
                    <a:pt x="481709" y="179268"/>
                  </a:lnTo>
                  <a:lnTo>
                    <a:pt x="478023" y="179268"/>
                  </a:lnTo>
                  <a:lnTo>
                    <a:pt x="474337" y="179268"/>
                  </a:lnTo>
                  <a:lnTo>
                    <a:pt x="470641" y="179268"/>
                  </a:lnTo>
                  <a:lnTo>
                    <a:pt x="466955" y="179268"/>
                  </a:lnTo>
                  <a:lnTo>
                    <a:pt x="466955" y="175578"/>
                  </a:lnTo>
                  <a:lnTo>
                    <a:pt x="463269" y="175578"/>
                  </a:lnTo>
                  <a:lnTo>
                    <a:pt x="459573" y="175578"/>
                  </a:lnTo>
                  <a:lnTo>
                    <a:pt x="452201" y="175578"/>
                  </a:lnTo>
                  <a:lnTo>
                    <a:pt x="448505" y="171888"/>
                  </a:lnTo>
                  <a:lnTo>
                    <a:pt x="444819" y="171888"/>
                  </a:lnTo>
                  <a:lnTo>
                    <a:pt x="441133" y="168197"/>
                  </a:lnTo>
                  <a:lnTo>
                    <a:pt x="437447" y="164506"/>
                  </a:lnTo>
                  <a:lnTo>
                    <a:pt x="437447" y="160816"/>
                  </a:lnTo>
                  <a:lnTo>
                    <a:pt x="437447" y="153435"/>
                  </a:lnTo>
                  <a:lnTo>
                    <a:pt x="441133" y="149744"/>
                  </a:lnTo>
                  <a:lnTo>
                    <a:pt x="437447" y="142363"/>
                  </a:lnTo>
                  <a:lnTo>
                    <a:pt x="437447" y="138672"/>
                  </a:lnTo>
                  <a:lnTo>
                    <a:pt x="441133" y="138672"/>
                  </a:lnTo>
                  <a:lnTo>
                    <a:pt x="444819" y="131291"/>
                  </a:lnTo>
                  <a:lnTo>
                    <a:pt x="444819" y="127600"/>
                  </a:lnTo>
                  <a:lnTo>
                    <a:pt x="437447" y="131291"/>
                  </a:lnTo>
                  <a:lnTo>
                    <a:pt x="433751" y="134981"/>
                  </a:lnTo>
                  <a:lnTo>
                    <a:pt x="422683" y="134981"/>
                  </a:lnTo>
                  <a:lnTo>
                    <a:pt x="418997" y="134981"/>
                  </a:lnTo>
                  <a:lnTo>
                    <a:pt x="415310" y="134981"/>
                  </a:lnTo>
                  <a:lnTo>
                    <a:pt x="411615" y="134981"/>
                  </a:lnTo>
                  <a:lnTo>
                    <a:pt x="404242" y="131291"/>
                  </a:lnTo>
                  <a:lnTo>
                    <a:pt x="404242" y="127600"/>
                  </a:lnTo>
                  <a:lnTo>
                    <a:pt x="400547" y="127600"/>
                  </a:lnTo>
                  <a:lnTo>
                    <a:pt x="396861" y="127600"/>
                  </a:lnTo>
                  <a:lnTo>
                    <a:pt x="389479" y="123910"/>
                  </a:lnTo>
                  <a:lnTo>
                    <a:pt x="382106" y="120219"/>
                  </a:lnTo>
                  <a:lnTo>
                    <a:pt x="382106" y="123910"/>
                  </a:lnTo>
                  <a:lnTo>
                    <a:pt x="374724" y="120219"/>
                  </a:lnTo>
                  <a:lnTo>
                    <a:pt x="367352" y="116528"/>
                  </a:lnTo>
                  <a:lnTo>
                    <a:pt x="363656" y="116528"/>
                  </a:lnTo>
                  <a:lnTo>
                    <a:pt x="363656" y="112838"/>
                  </a:lnTo>
                  <a:lnTo>
                    <a:pt x="367352" y="112838"/>
                  </a:lnTo>
                  <a:lnTo>
                    <a:pt x="363656" y="109147"/>
                  </a:lnTo>
                  <a:lnTo>
                    <a:pt x="356284" y="101766"/>
                  </a:lnTo>
                  <a:lnTo>
                    <a:pt x="352588" y="101766"/>
                  </a:lnTo>
                  <a:lnTo>
                    <a:pt x="348902" y="98075"/>
                  </a:lnTo>
                  <a:lnTo>
                    <a:pt x="348902" y="94385"/>
                  </a:lnTo>
                  <a:lnTo>
                    <a:pt x="348902" y="87005"/>
                  </a:lnTo>
                  <a:lnTo>
                    <a:pt x="348902" y="79623"/>
                  </a:lnTo>
                  <a:lnTo>
                    <a:pt x="345216" y="75933"/>
                  </a:lnTo>
                  <a:lnTo>
                    <a:pt x="345216" y="72242"/>
                  </a:lnTo>
                  <a:lnTo>
                    <a:pt x="345216" y="68551"/>
                  </a:lnTo>
                  <a:lnTo>
                    <a:pt x="345216" y="61170"/>
                  </a:lnTo>
                  <a:lnTo>
                    <a:pt x="341520" y="53789"/>
                  </a:lnTo>
                  <a:lnTo>
                    <a:pt x="337834" y="53789"/>
                  </a:lnTo>
                  <a:lnTo>
                    <a:pt x="337834" y="42717"/>
                  </a:lnTo>
                  <a:lnTo>
                    <a:pt x="341520" y="31645"/>
                  </a:lnTo>
                  <a:lnTo>
                    <a:pt x="341520" y="27955"/>
                  </a:lnTo>
                  <a:lnTo>
                    <a:pt x="330452" y="16883"/>
                  </a:lnTo>
                  <a:lnTo>
                    <a:pt x="323080" y="13193"/>
                  </a:lnTo>
                  <a:lnTo>
                    <a:pt x="319384" y="20574"/>
                  </a:lnTo>
                  <a:lnTo>
                    <a:pt x="323080" y="24264"/>
                  </a:lnTo>
                  <a:lnTo>
                    <a:pt x="319384" y="24264"/>
                  </a:lnTo>
                  <a:lnTo>
                    <a:pt x="315698" y="24264"/>
                  </a:lnTo>
                  <a:lnTo>
                    <a:pt x="312012" y="24264"/>
                  </a:lnTo>
                  <a:lnTo>
                    <a:pt x="312012" y="20574"/>
                  </a:lnTo>
                  <a:lnTo>
                    <a:pt x="315698" y="24264"/>
                  </a:lnTo>
                  <a:lnTo>
                    <a:pt x="315698" y="20574"/>
                  </a:lnTo>
                  <a:lnTo>
                    <a:pt x="319384" y="13193"/>
                  </a:lnTo>
                  <a:lnTo>
                    <a:pt x="315698" y="13193"/>
                  </a:lnTo>
                  <a:lnTo>
                    <a:pt x="308316" y="9502"/>
                  </a:lnTo>
                  <a:lnTo>
                    <a:pt x="300944" y="16883"/>
                  </a:lnTo>
                  <a:lnTo>
                    <a:pt x="297258" y="13193"/>
                  </a:lnTo>
                  <a:lnTo>
                    <a:pt x="289876" y="9502"/>
                  </a:lnTo>
                  <a:lnTo>
                    <a:pt x="278808" y="9502"/>
                  </a:lnTo>
                  <a:lnTo>
                    <a:pt x="275121" y="5812"/>
                  </a:lnTo>
                  <a:close/>
                  <a:moveTo>
                    <a:pt x="367352" y="112838"/>
                  </a:moveTo>
                  <a:lnTo>
                    <a:pt x="371038" y="116528"/>
                  </a:lnTo>
                  <a:lnTo>
                    <a:pt x="371038" y="112838"/>
                  </a:lnTo>
                  <a:lnTo>
                    <a:pt x="367352" y="112838"/>
                  </a:lnTo>
                  <a:close/>
                  <a:moveTo>
                    <a:pt x="500159" y="186649"/>
                  </a:moveTo>
                  <a:lnTo>
                    <a:pt x="500159" y="179268"/>
                  </a:lnTo>
                  <a:lnTo>
                    <a:pt x="496473" y="182958"/>
                  </a:lnTo>
                  <a:lnTo>
                    <a:pt x="500159" y="186649"/>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grpSp>
          <p:nvGrpSpPr>
            <p:cNvPr id="23" name="Google Shape;418;p2">
              <a:extLst>
                <a:ext uri="{FF2B5EF4-FFF2-40B4-BE49-F238E27FC236}">
                  <a16:creationId xmlns:a16="http://schemas.microsoft.com/office/drawing/2014/main" id="{52FEA73B-EBC9-4990-9BCC-A8F9BF7ADB2A}"/>
                </a:ext>
              </a:extLst>
            </p:cNvPr>
            <p:cNvGrpSpPr/>
            <p:nvPr/>
          </p:nvGrpSpPr>
          <p:grpSpPr>
            <a:xfrm>
              <a:off x="2763225" y="1070068"/>
              <a:ext cx="1910612" cy="1386478"/>
              <a:chOff x="2763225" y="1070068"/>
              <a:chExt cx="1910612" cy="1386478"/>
            </a:xfrm>
            <a:grpFill/>
          </p:grpSpPr>
          <p:sp>
            <p:nvSpPr>
              <p:cNvPr id="49" name="Google Shape;419;p2">
                <a:extLst>
                  <a:ext uri="{FF2B5EF4-FFF2-40B4-BE49-F238E27FC236}">
                    <a16:creationId xmlns:a16="http://schemas.microsoft.com/office/drawing/2014/main" id="{D9E3A2D1-19DA-49A8-9247-EABCC85D4F14}"/>
                  </a:ext>
                </a:extLst>
              </p:cNvPr>
              <p:cNvSpPr/>
              <p:nvPr/>
            </p:nvSpPr>
            <p:spPr>
              <a:xfrm>
                <a:off x="3283354" y="1330229"/>
                <a:ext cx="1212958" cy="1126317"/>
              </a:xfrm>
              <a:custGeom>
                <a:avLst/>
                <a:gdLst/>
                <a:ahLst/>
                <a:cxnLst/>
                <a:rect l="l" t="t" r="r" b="b"/>
                <a:pathLst>
                  <a:path w="533400" h="495300" extrusionOk="0">
                    <a:moveTo>
                      <a:pt x="407938" y="5812"/>
                    </a:moveTo>
                    <a:lnTo>
                      <a:pt x="389488" y="13192"/>
                    </a:lnTo>
                    <a:lnTo>
                      <a:pt x="385802" y="13192"/>
                    </a:lnTo>
                    <a:lnTo>
                      <a:pt x="378420" y="9502"/>
                    </a:lnTo>
                    <a:lnTo>
                      <a:pt x="367352" y="9502"/>
                    </a:lnTo>
                    <a:lnTo>
                      <a:pt x="367352" y="13192"/>
                    </a:lnTo>
                    <a:lnTo>
                      <a:pt x="363666" y="13192"/>
                    </a:lnTo>
                    <a:lnTo>
                      <a:pt x="359970" y="13192"/>
                    </a:lnTo>
                    <a:lnTo>
                      <a:pt x="356284" y="9502"/>
                    </a:lnTo>
                    <a:lnTo>
                      <a:pt x="341530" y="13192"/>
                    </a:lnTo>
                    <a:lnTo>
                      <a:pt x="334148" y="13192"/>
                    </a:lnTo>
                    <a:lnTo>
                      <a:pt x="330462" y="13192"/>
                    </a:lnTo>
                    <a:lnTo>
                      <a:pt x="326775" y="16883"/>
                    </a:lnTo>
                    <a:lnTo>
                      <a:pt x="312012" y="20573"/>
                    </a:lnTo>
                    <a:lnTo>
                      <a:pt x="308326" y="20573"/>
                    </a:lnTo>
                    <a:lnTo>
                      <a:pt x="304639" y="20573"/>
                    </a:lnTo>
                    <a:lnTo>
                      <a:pt x="289876" y="27955"/>
                    </a:lnTo>
                    <a:lnTo>
                      <a:pt x="282503" y="27955"/>
                    </a:lnTo>
                    <a:lnTo>
                      <a:pt x="278808" y="27955"/>
                    </a:lnTo>
                    <a:lnTo>
                      <a:pt x="275121" y="27955"/>
                    </a:lnTo>
                    <a:lnTo>
                      <a:pt x="271435" y="27955"/>
                    </a:lnTo>
                    <a:lnTo>
                      <a:pt x="271435" y="24264"/>
                    </a:lnTo>
                    <a:lnTo>
                      <a:pt x="267749" y="20573"/>
                    </a:lnTo>
                    <a:lnTo>
                      <a:pt x="267749" y="27955"/>
                    </a:lnTo>
                    <a:lnTo>
                      <a:pt x="260367" y="31645"/>
                    </a:lnTo>
                    <a:lnTo>
                      <a:pt x="252985" y="35336"/>
                    </a:lnTo>
                    <a:lnTo>
                      <a:pt x="249299" y="39027"/>
                    </a:lnTo>
                    <a:lnTo>
                      <a:pt x="241917" y="42717"/>
                    </a:lnTo>
                    <a:lnTo>
                      <a:pt x="238231" y="46408"/>
                    </a:lnTo>
                    <a:lnTo>
                      <a:pt x="230849" y="50098"/>
                    </a:lnTo>
                    <a:lnTo>
                      <a:pt x="223477" y="50098"/>
                    </a:lnTo>
                    <a:lnTo>
                      <a:pt x="212409" y="57480"/>
                    </a:lnTo>
                    <a:lnTo>
                      <a:pt x="197655" y="64861"/>
                    </a:lnTo>
                    <a:lnTo>
                      <a:pt x="190273" y="68551"/>
                    </a:lnTo>
                    <a:lnTo>
                      <a:pt x="171823" y="79623"/>
                    </a:lnTo>
                    <a:lnTo>
                      <a:pt x="160755" y="79623"/>
                    </a:lnTo>
                    <a:lnTo>
                      <a:pt x="157069" y="83314"/>
                    </a:lnTo>
                    <a:lnTo>
                      <a:pt x="149687" y="87004"/>
                    </a:lnTo>
                    <a:lnTo>
                      <a:pt x="146000" y="87004"/>
                    </a:lnTo>
                    <a:lnTo>
                      <a:pt x="142314" y="90695"/>
                    </a:lnTo>
                    <a:lnTo>
                      <a:pt x="134932" y="94385"/>
                    </a:lnTo>
                    <a:lnTo>
                      <a:pt x="127560" y="98075"/>
                    </a:lnTo>
                    <a:lnTo>
                      <a:pt x="123864" y="101766"/>
                    </a:lnTo>
                    <a:lnTo>
                      <a:pt x="116492" y="109147"/>
                    </a:lnTo>
                    <a:lnTo>
                      <a:pt x="112796" y="116528"/>
                    </a:lnTo>
                    <a:lnTo>
                      <a:pt x="109110" y="120219"/>
                    </a:lnTo>
                    <a:lnTo>
                      <a:pt x="109110" y="123910"/>
                    </a:lnTo>
                    <a:lnTo>
                      <a:pt x="105424" y="123910"/>
                    </a:lnTo>
                    <a:lnTo>
                      <a:pt x="105424" y="127600"/>
                    </a:lnTo>
                    <a:lnTo>
                      <a:pt x="98042" y="131291"/>
                    </a:lnTo>
                    <a:lnTo>
                      <a:pt x="94356" y="134981"/>
                    </a:lnTo>
                    <a:lnTo>
                      <a:pt x="90660" y="134981"/>
                    </a:lnTo>
                    <a:lnTo>
                      <a:pt x="83288" y="142363"/>
                    </a:lnTo>
                    <a:lnTo>
                      <a:pt x="79592" y="146053"/>
                    </a:lnTo>
                    <a:lnTo>
                      <a:pt x="75906" y="146053"/>
                    </a:lnTo>
                    <a:lnTo>
                      <a:pt x="72220" y="149744"/>
                    </a:lnTo>
                    <a:lnTo>
                      <a:pt x="68524" y="157125"/>
                    </a:lnTo>
                    <a:lnTo>
                      <a:pt x="64838" y="157125"/>
                    </a:lnTo>
                    <a:lnTo>
                      <a:pt x="61152" y="160816"/>
                    </a:lnTo>
                    <a:lnTo>
                      <a:pt x="57466" y="168197"/>
                    </a:lnTo>
                    <a:lnTo>
                      <a:pt x="53770" y="179268"/>
                    </a:lnTo>
                    <a:lnTo>
                      <a:pt x="50084" y="182958"/>
                    </a:lnTo>
                    <a:lnTo>
                      <a:pt x="50084" y="186649"/>
                    </a:lnTo>
                    <a:lnTo>
                      <a:pt x="53770" y="186649"/>
                    </a:lnTo>
                    <a:lnTo>
                      <a:pt x="50084" y="190340"/>
                    </a:lnTo>
                    <a:lnTo>
                      <a:pt x="46398" y="194030"/>
                    </a:lnTo>
                    <a:lnTo>
                      <a:pt x="42702" y="197721"/>
                    </a:lnTo>
                    <a:lnTo>
                      <a:pt x="42702" y="201411"/>
                    </a:lnTo>
                    <a:lnTo>
                      <a:pt x="46398" y="201411"/>
                    </a:lnTo>
                    <a:lnTo>
                      <a:pt x="46398" y="208793"/>
                    </a:lnTo>
                    <a:lnTo>
                      <a:pt x="42702" y="216174"/>
                    </a:lnTo>
                    <a:lnTo>
                      <a:pt x="42702" y="227246"/>
                    </a:lnTo>
                    <a:lnTo>
                      <a:pt x="42702" y="234627"/>
                    </a:lnTo>
                    <a:lnTo>
                      <a:pt x="42702" y="238318"/>
                    </a:lnTo>
                    <a:lnTo>
                      <a:pt x="39016" y="242008"/>
                    </a:lnTo>
                    <a:lnTo>
                      <a:pt x="39016" y="245699"/>
                    </a:lnTo>
                    <a:lnTo>
                      <a:pt x="31634" y="249389"/>
                    </a:lnTo>
                    <a:lnTo>
                      <a:pt x="27948" y="249389"/>
                    </a:lnTo>
                    <a:lnTo>
                      <a:pt x="31634" y="253080"/>
                    </a:lnTo>
                    <a:lnTo>
                      <a:pt x="27948" y="256771"/>
                    </a:lnTo>
                    <a:lnTo>
                      <a:pt x="27948" y="260461"/>
                    </a:lnTo>
                    <a:lnTo>
                      <a:pt x="24261" y="264151"/>
                    </a:lnTo>
                    <a:lnTo>
                      <a:pt x="27948" y="264151"/>
                    </a:lnTo>
                    <a:lnTo>
                      <a:pt x="31634" y="267841"/>
                    </a:lnTo>
                    <a:lnTo>
                      <a:pt x="35330" y="275223"/>
                    </a:lnTo>
                    <a:lnTo>
                      <a:pt x="35330" y="278913"/>
                    </a:lnTo>
                    <a:lnTo>
                      <a:pt x="35330" y="282604"/>
                    </a:lnTo>
                    <a:lnTo>
                      <a:pt x="35330" y="286295"/>
                    </a:lnTo>
                    <a:lnTo>
                      <a:pt x="39016" y="293676"/>
                    </a:lnTo>
                    <a:lnTo>
                      <a:pt x="35330" y="293676"/>
                    </a:lnTo>
                    <a:lnTo>
                      <a:pt x="39016" y="297366"/>
                    </a:lnTo>
                    <a:lnTo>
                      <a:pt x="35330" y="297366"/>
                    </a:lnTo>
                    <a:lnTo>
                      <a:pt x="35330" y="293676"/>
                    </a:lnTo>
                    <a:lnTo>
                      <a:pt x="27948" y="293676"/>
                    </a:lnTo>
                    <a:lnTo>
                      <a:pt x="27948" y="297366"/>
                    </a:lnTo>
                    <a:lnTo>
                      <a:pt x="27948" y="301057"/>
                    </a:lnTo>
                    <a:lnTo>
                      <a:pt x="31634" y="301057"/>
                    </a:lnTo>
                    <a:lnTo>
                      <a:pt x="35330" y="301057"/>
                    </a:lnTo>
                    <a:lnTo>
                      <a:pt x="35330" y="308438"/>
                    </a:lnTo>
                    <a:lnTo>
                      <a:pt x="35330" y="312129"/>
                    </a:lnTo>
                    <a:lnTo>
                      <a:pt x="39016" y="308438"/>
                    </a:lnTo>
                    <a:lnTo>
                      <a:pt x="39016" y="312129"/>
                    </a:lnTo>
                    <a:lnTo>
                      <a:pt x="35330" y="312129"/>
                    </a:lnTo>
                    <a:lnTo>
                      <a:pt x="35330" y="315819"/>
                    </a:lnTo>
                    <a:lnTo>
                      <a:pt x="39016" y="315819"/>
                    </a:lnTo>
                    <a:lnTo>
                      <a:pt x="42702" y="319510"/>
                    </a:lnTo>
                    <a:lnTo>
                      <a:pt x="42702" y="323201"/>
                    </a:lnTo>
                    <a:lnTo>
                      <a:pt x="42702" y="326891"/>
                    </a:lnTo>
                    <a:lnTo>
                      <a:pt x="42702" y="330582"/>
                    </a:lnTo>
                    <a:lnTo>
                      <a:pt x="39016" y="334272"/>
                    </a:lnTo>
                    <a:lnTo>
                      <a:pt x="39016" y="341654"/>
                    </a:lnTo>
                    <a:lnTo>
                      <a:pt x="42702" y="352725"/>
                    </a:lnTo>
                    <a:lnTo>
                      <a:pt x="42702" y="360106"/>
                    </a:lnTo>
                    <a:lnTo>
                      <a:pt x="46398" y="363796"/>
                    </a:lnTo>
                    <a:lnTo>
                      <a:pt x="46398" y="365065"/>
                    </a:lnTo>
                    <a:lnTo>
                      <a:pt x="53770" y="360106"/>
                    </a:lnTo>
                    <a:lnTo>
                      <a:pt x="46398" y="367487"/>
                    </a:lnTo>
                    <a:lnTo>
                      <a:pt x="46398" y="365065"/>
                    </a:lnTo>
                    <a:lnTo>
                      <a:pt x="42702" y="367487"/>
                    </a:lnTo>
                    <a:lnTo>
                      <a:pt x="42702" y="371178"/>
                    </a:lnTo>
                    <a:lnTo>
                      <a:pt x="42702" y="378559"/>
                    </a:lnTo>
                    <a:lnTo>
                      <a:pt x="39016" y="378559"/>
                    </a:lnTo>
                    <a:lnTo>
                      <a:pt x="35330" y="382249"/>
                    </a:lnTo>
                    <a:lnTo>
                      <a:pt x="39016" y="385940"/>
                    </a:lnTo>
                    <a:lnTo>
                      <a:pt x="42702" y="393321"/>
                    </a:lnTo>
                    <a:lnTo>
                      <a:pt x="42702" y="397012"/>
                    </a:lnTo>
                    <a:lnTo>
                      <a:pt x="42702" y="404393"/>
                    </a:lnTo>
                    <a:lnTo>
                      <a:pt x="42702" y="408084"/>
                    </a:lnTo>
                    <a:lnTo>
                      <a:pt x="39016" y="411774"/>
                    </a:lnTo>
                    <a:lnTo>
                      <a:pt x="35330" y="411774"/>
                    </a:lnTo>
                    <a:lnTo>
                      <a:pt x="31634" y="411774"/>
                    </a:lnTo>
                    <a:lnTo>
                      <a:pt x="24261" y="419156"/>
                    </a:lnTo>
                    <a:lnTo>
                      <a:pt x="20566" y="422846"/>
                    </a:lnTo>
                    <a:lnTo>
                      <a:pt x="16880" y="426537"/>
                    </a:lnTo>
                    <a:lnTo>
                      <a:pt x="20566" y="430227"/>
                    </a:lnTo>
                    <a:lnTo>
                      <a:pt x="20566" y="433917"/>
                    </a:lnTo>
                    <a:lnTo>
                      <a:pt x="20566" y="437608"/>
                    </a:lnTo>
                    <a:lnTo>
                      <a:pt x="27948" y="437608"/>
                    </a:lnTo>
                    <a:lnTo>
                      <a:pt x="27948" y="441298"/>
                    </a:lnTo>
                    <a:lnTo>
                      <a:pt x="31634" y="441298"/>
                    </a:lnTo>
                    <a:lnTo>
                      <a:pt x="39016" y="448679"/>
                    </a:lnTo>
                    <a:lnTo>
                      <a:pt x="46398" y="456061"/>
                    </a:lnTo>
                    <a:lnTo>
                      <a:pt x="50084" y="456061"/>
                    </a:lnTo>
                    <a:lnTo>
                      <a:pt x="53770" y="456061"/>
                    </a:lnTo>
                    <a:lnTo>
                      <a:pt x="57466" y="456061"/>
                    </a:lnTo>
                    <a:lnTo>
                      <a:pt x="64838" y="456061"/>
                    </a:lnTo>
                    <a:lnTo>
                      <a:pt x="64838" y="452370"/>
                    </a:lnTo>
                    <a:lnTo>
                      <a:pt x="75906" y="456061"/>
                    </a:lnTo>
                    <a:lnTo>
                      <a:pt x="83288" y="456061"/>
                    </a:lnTo>
                    <a:lnTo>
                      <a:pt x="86974" y="459751"/>
                    </a:lnTo>
                    <a:lnTo>
                      <a:pt x="101728" y="467133"/>
                    </a:lnTo>
                    <a:lnTo>
                      <a:pt x="109110" y="467133"/>
                    </a:lnTo>
                    <a:lnTo>
                      <a:pt x="109110" y="470823"/>
                    </a:lnTo>
                    <a:lnTo>
                      <a:pt x="116492" y="470823"/>
                    </a:lnTo>
                    <a:lnTo>
                      <a:pt x="120178" y="467133"/>
                    </a:lnTo>
                    <a:lnTo>
                      <a:pt x="123864" y="467133"/>
                    </a:lnTo>
                    <a:lnTo>
                      <a:pt x="123864" y="463442"/>
                    </a:lnTo>
                    <a:lnTo>
                      <a:pt x="127560" y="459751"/>
                    </a:lnTo>
                    <a:lnTo>
                      <a:pt x="127560" y="456061"/>
                    </a:lnTo>
                    <a:lnTo>
                      <a:pt x="134932" y="452370"/>
                    </a:lnTo>
                    <a:lnTo>
                      <a:pt x="142314" y="456061"/>
                    </a:lnTo>
                    <a:lnTo>
                      <a:pt x="146000" y="452370"/>
                    </a:lnTo>
                    <a:lnTo>
                      <a:pt x="153382" y="448679"/>
                    </a:lnTo>
                    <a:lnTo>
                      <a:pt x="157069" y="448679"/>
                    </a:lnTo>
                    <a:lnTo>
                      <a:pt x="160755" y="452370"/>
                    </a:lnTo>
                    <a:lnTo>
                      <a:pt x="160755" y="459751"/>
                    </a:lnTo>
                    <a:lnTo>
                      <a:pt x="164450" y="459751"/>
                    </a:lnTo>
                    <a:lnTo>
                      <a:pt x="168137" y="459751"/>
                    </a:lnTo>
                    <a:lnTo>
                      <a:pt x="175518" y="459751"/>
                    </a:lnTo>
                    <a:lnTo>
                      <a:pt x="179205" y="459751"/>
                    </a:lnTo>
                    <a:lnTo>
                      <a:pt x="182891" y="459751"/>
                    </a:lnTo>
                    <a:lnTo>
                      <a:pt x="182891" y="463442"/>
                    </a:lnTo>
                    <a:lnTo>
                      <a:pt x="186587" y="463442"/>
                    </a:lnTo>
                    <a:lnTo>
                      <a:pt x="190273" y="459751"/>
                    </a:lnTo>
                    <a:lnTo>
                      <a:pt x="190273" y="463442"/>
                    </a:lnTo>
                    <a:lnTo>
                      <a:pt x="197655" y="467133"/>
                    </a:lnTo>
                    <a:lnTo>
                      <a:pt x="193959" y="459751"/>
                    </a:lnTo>
                    <a:lnTo>
                      <a:pt x="205027" y="463442"/>
                    </a:lnTo>
                    <a:lnTo>
                      <a:pt x="208713" y="463442"/>
                    </a:lnTo>
                    <a:lnTo>
                      <a:pt x="223477" y="481895"/>
                    </a:lnTo>
                    <a:lnTo>
                      <a:pt x="227163" y="489276"/>
                    </a:lnTo>
                    <a:lnTo>
                      <a:pt x="227163" y="492967"/>
                    </a:lnTo>
                    <a:lnTo>
                      <a:pt x="230849" y="489276"/>
                    </a:lnTo>
                    <a:lnTo>
                      <a:pt x="238231" y="481895"/>
                    </a:lnTo>
                    <a:lnTo>
                      <a:pt x="241917" y="481895"/>
                    </a:lnTo>
                    <a:lnTo>
                      <a:pt x="241917" y="485586"/>
                    </a:lnTo>
                    <a:lnTo>
                      <a:pt x="245613" y="485586"/>
                    </a:lnTo>
                    <a:lnTo>
                      <a:pt x="249299" y="485586"/>
                    </a:lnTo>
                    <a:lnTo>
                      <a:pt x="249299" y="489276"/>
                    </a:lnTo>
                    <a:lnTo>
                      <a:pt x="252985" y="489276"/>
                    </a:lnTo>
                    <a:lnTo>
                      <a:pt x="256681" y="489276"/>
                    </a:lnTo>
                    <a:lnTo>
                      <a:pt x="260367" y="492967"/>
                    </a:lnTo>
                    <a:lnTo>
                      <a:pt x="264053" y="492967"/>
                    </a:lnTo>
                    <a:lnTo>
                      <a:pt x="267749" y="492967"/>
                    </a:lnTo>
                    <a:lnTo>
                      <a:pt x="271435" y="492967"/>
                    </a:lnTo>
                    <a:lnTo>
                      <a:pt x="275121" y="489276"/>
                    </a:lnTo>
                    <a:lnTo>
                      <a:pt x="278808" y="489276"/>
                    </a:lnTo>
                    <a:lnTo>
                      <a:pt x="278808" y="485586"/>
                    </a:lnTo>
                    <a:lnTo>
                      <a:pt x="282503" y="485586"/>
                    </a:lnTo>
                    <a:lnTo>
                      <a:pt x="286189" y="481895"/>
                    </a:lnTo>
                    <a:lnTo>
                      <a:pt x="286189" y="478204"/>
                    </a:lnTo>
                    <a:lnTo>
                      <a:pt x="289876" y="474514"/>
                    </a:lnTo>
                    <a:lnTo>
                      <a:pt x="289876" y="470823"/>
                    </a:lnTo>
                    <a:lnTo>
                      <a:pt x="293571" y="467133"/>
                    </a:lnTo>
                    <a:lnTo>
                      <a:pt x="300944" y="467133"/>
                    </a:lnTo>
                    <a:lnTo>
                      <a:pt x="300944" y="463442"/>
                    </a:lnTo>
                    <a:lnTo>
                      <a:pt x="308326" y="467133"/>
                    </a:lnTo>
                    <a:lnTo>
                      <a:pt x="308326" y="463442"/>
                    </a:lnTo>
                    <a:lnTo>
                      <a:pt x="315707" y="459751"/>
                    </a:lnTo>
                    <a:lnTo>
                      <a:pt x="315707" y="467133"/>
                    </a:lnTo>
                    <a:lnTo>
                      <a:pt x="319394" y="474514"/>
                    </a:lnTo>
                    <a:lnTo>
                      <a:pt x="323080" y="478204"/>
                    </a:lnTo>
                    <a:lnTo>
                      <a:pt x="326775" y="478204"/>
                    </a:lnTo>
                    <a:lnTo>
                      <a:pt x="326775" y="481895"/>
                    </a:lnTo>
                    <a:lnTo>
                      <a:pt x="330462" y="478204"/>
                    </a:lnTo>
                    <a:lnTo>
                      <a:pt x="341530" y="474514"/>
                    </a:lnTo>
                    <a:lnTo>
                      <a:pt x="341530" y="481895"/>
                    </a:lnTo>
                    <a:lnTo>
                      <a:pt x="348912" y="478204"/>
                    </a:lnTo>
                    <a:lnTo>
                      <a:pt x="352598" y="474514"/>
                    </a:lnTo>
                    <a:lnTo>
                      <a:pt x="356284" y="474514"/>
                    </a:lnTo>
                    <a:lnTo>
                      <a:pt x="356284" y="470823"/>
                    </a:lnTo>
                    <a:lnTo>
                      <a:pt x="352598" y="463442"/>
                    </a:lnTo>
                    <a:lnTo>
                      <a:pt x="356284" y="463442"/>
                    </a:lnTo>
                    <a:lnTo>
                      <a:pt x="367352" y="463442"/>
                    </a:lnTo>
                    <a:lnTo>
                      <a:pt x="371038" y="459751"/>
                    </a:lnTo>
                    <a:lnTo>
                      <a:pt x="374734" y="456061"/>
                    </a:lnTo>
                    <a:lnTo>
                      <a:pt x="385802" y="448679"/>
                    </a:lnTo>
                    <a:lnTo>
                      <a:pt x="396870" y="441298"/>
                    </a:lnTo>
                    <a:lnTo>
                      <a:pt x="404242" y="433917"/>
                    </a:lnTo>
                    <a:lnTo>
                      <a:pt x="418996" y="426537"/>
                    </a:lnTo>
                    <a:lnTo>
                      <a:pt x="422692" y="422846"/>
                    </a:lnTo>
                    <a:lnTo>
                      <a:pt x="426378" y="419156"/>
                    </a:lnTo>
                    <a:lnTo>
                      <a:pt x="437446" y="404393"/>
                    </a:lnTo>
                    <a:lnTo>
                      <a:pt x="444828" y="400703"/>
                    </a:lnTo>
                    <a:lnTo>
                      <a:pt x="444828" y="397012"/>
                    </a:lnTo>
                    <a:lnTo>
                      <a:pt x="444828" y="393321"/>
                    </a:lnTo>
                    <a:lnTo>
                      <a:pt x="452201" y="389631"/>
                    </a:lnTo>
                    <a:lnTo>
                      <a:pt x="463269" y="393321"/>
                    </a:lnTo>
                    <a:lnTo>
                      <a:pt x="474337" y="393321"/>
                    </a:lnTo>
                    <a:lnTo>
                      <a:pt x="489100" y="408084"/>
                    </a:lnTo>
                    <a:lnTo>
                      <a:pt x="503855" y="397012"/>
                    </a:lnTo>
                    <a:lnTo>
                      <a:pt x="514923" y="385940"/>
                    </a:lnTo>
                    <a:lnTo>
                      <a:pt x="518609" y="382249"/>
                    </a:lnTo>
                    <a:lnTo>
                      <a:pt x="522295" y="378559"/>
                    </a:lnTo>
                    <a:lnTo>
                      <a:pt x="522295" y="374868"/>
                    </a:lnTo>
                    <a:lnTo>
                      <a:pt x="533363" y="356415"/>
                    </a:lnTo>
                    <a:lnTo>
                      <a:pt x="529677" y="352725"/>
                    </a:lnTo>
                    <a:lnTo>
                      <a:pt x="525991" y="345344"/>
                    </a:lnTo>
                    <a:lnTo>
                      <a:pt x="522295" y="337963"/>
                    </a:lnTo>
                    <a:lnTo>
                      <a:pt x="507541" y="315819"/>
                    </a:lnTo>
                    <a:lnTo>
                      <a:pt x="500159" y="304748"/>
                    </a:lnTo>
                    <a:lnTo>
                      <a:pt x="500159" y="301057"/>
                    </a:lnTo>
                    <a:lnTo>
                      <a:pt x="500159" y="289985"/>
                    </a:lnTo>
                    <a:lnTo>
                      <a:pt x="503855" y="278913"/>
                    </a:lnTo>
                    <a:lnTo>
                      <a:pt x="496473" y="275223"/>
                    </a:lnTo>
                    <a:lnTo>
                      <a:pt x="485405" y="275223"/>
                    </a:lnTo>
                    <a:lnTo>
                      <a:pt x="474337" y="267841"/>
                    </a:lnTo>
                    <a:lnTo>
                      <a:pt x="478033" y="260461"/>
                    </a:lnTo>
                    <a:lnTo>
                      <a:pt x="466964" y="256771"/>
                    </a:lnTo>
                    <a:lnTo>
                      <a:pt x="466964" y="253080"/>
                    </a:lnTo>
                    <a:lnTo>
                      <a:pt x="463269" y="249389"/>
                    </a:lnTo>
                    <a:lnTo>
                      <a:pt x="455896" y="245699"/>
                    </a:lnTo>
                    <a:lnTo>
                      <a:pt x="452201" y="242008"/>
                    </a:lnTo>
                    <a:lnTo>
                      <a:pt x="448515" y="242008"/>
                    </a:lnTo>
                    <a:lnTo>
                      <a:pt x="441133" y="242008"/>
                    </a:lnTo>
                    <a:lnTo>
                      <a:pt x="433760" y="242008"/>
                    </a:lnTo>
                    <a:lnTo>
                      <a:pt x="426378" y="242008"/>
                    </a:lnTo>
                    <a:lnTo>
                      <a:pt x="422692" y="242008"/>
                    </a:lnTo>
                    <a:lnTo>
                      <a:pt x="418996" y="234627"/>
                    </a:lnTo>
                    <a:lnTo>
                      <a:pt x="415310" y="230936"/>
                    </a:lnTo>
                    <a:lnTo>
                      <a:pt x="411624" y="227246"/>
                    </a:lnTo>
                    <a:lnTo>
                      <a:pt x="411624" y="212483"/>
                    </a:lnTo>
                    <a:lnTo>
                      <a:pt x="411624" y="208793"/>
                    </a:lnTo>
                    <a:lnTo>
                      <a:pt x="411624" y="201411"/>
                    </a:lnTo>
                    <a:lnTo>
                      <a:pt x="411624" y="194030"/>
                    </a:lnTo>
                    <a:lnTo>
                      <a:pt x="415310" y="190340"/>
                    </a:lnTo>
                    <a:lnTo>
                      <a:pt x="418996" y="182958"/>
                    </a:lnTo>
                    <a:lnTo>
                      <a:pt x="418996" y="179268"/>
                    </a:lnTo>
                    <a:lnTo>
                      <a:pt x="422692" y="175578"/>
                    </a:lnTo>
                    <a:lnTo>
                      <a:pt x="426378" y="175578"/>
                    </a:lnTo>
                    <a:lnTo>
                      <a:pt x="430065" y="171888"/>
                    </a:lnTo>
                    <a:lnTo>
                      <a:pt x="433760" y="164506"/>
                    </a:lnTo>
                    <a:lnTo>
                      <a:pt x="433760" y="160816"/>
                    </a:lnTo>
                    <a:lnTo>
                      <a:pt x="433760" y="157125"/>
                    </a:lnTo>
                    <a:lnTo>
                      <a:pt x="433760" y="149744"/>
                    </a:lnTo>
                    <a:lnTo>
                      <a:pt x="430065" y="149744"/>
                    </a:lnTo>
                    <a:lnTo>
                      <a:pt x="426378" y="149744"/>
                    </a:lnTo>
                    <a:lnTo>
                      <a:pt x="426378" y="146053"/>
                    </a:lnTo>
                    <a:lnTo>
                      <a:pt x="430065" y="142363"/>
                    </a:lnTo>
                    <a:lnTo>
                      <a:pt x="433760" y="138672"/>
                    </a:lnTo>
                    <a:lnTo>
                      <a:pt x="437446" y="134981"/>
                    </a:lnTo>
                    <a:lnTo>
                      <a:pt x="437446" y="131291"/>
                    </a:lnTo>
                    <a:lnTo>
                      <a:pt x="437446" y="127600"/>
                    </a:lnTo>
                    <a:lnTo>
                      <a:pt x="441133" y="123910"/>
                    </a:lnTo>
                    <a:lnTo>
                      <a:pt x="441133" y="120219"/>
                    </a:lnTo>
                    <a:lnTo>
                      <a:pt x="444828" y="120219"/>
                    </a:lnTo>
                    <a:lnTo>
                      <a:pt x="448515" y="116528"/>
                    </a:lnTo>
                    <a:lnTo>
                      <a:pt x="444828" y="116528"/>
                    </a:lnTo>
                    <a:lnTo>
                      <a:pt x="444828" y="112838"/>
                    </a:lnTo>
                    <a:lnTo>
                      <a:pt x="444828" y="109147"/>
                    </a:lnTo>
                    <a:lnTo>
                      <a:pt x="444828" y="105457"/>
                    </a:lnTo>
                    <a:lnTo>
                      <a:pt x="448515" y="101766"/>
                    </a:lnTo>
                    <a:lnTo>
                      <a:pt x="452201" y="101766"/>
                    </a:lnTo>
                    <a:lnTo>
                      <a:pt x="455896" y="98075"/>
                    </a:lnTo>
                    <a:lnTo>
                      <a:pt x="455896" y="94385"/>
                    </a:lnTo>
                    <a:lnTo>
                      <a:pt x="459582" y="90695"/>
                    </a:lnTo>
                    <a:lnTo>
                      <a:pt x="463269" y="90695"/>
                    </a:lnTo>
                    <a:lnTo>
                      <a:pt x="463269" y="87004"/>
                    </a:lnTo>
                    <a:lnTo>
                      <a:pt x="459582" y="87004"/>
                    </a:lnTo>
                    <a:lnTo>
                      <a:pt x="459582" y="83314"/>
                    </a:lnTo>
                    <a:lnTo>
                      <a:pt x="459582" y="61170"/>
                    </a:lnTo>
                    <a:lnTo>
                      <a:pt x="455896" y="61170"/>
                    </a:lnTo>
                    <a:lnTo>
                      <a:pt x="455896" y="57480"/>
                    </a:lnTo>
                    <a:lnTo>
                      <a:pt x="448515" y="57480"/>
                    </a:lnTo>
                    <a:lnTo>
                      <a:pt x="444828" y="57480"/>
                    </a:lnTo>
                    <a:lnTo>
                      <a:pt x="441133" y="61170"/>
                    </a:lnTo>
                    <a:lnTo>
                      <a:pt x="437446" y="61170"/>
                    </a:lnTo>
                    <a:lnTo>
                      <a:pt x="433760" y="61170"/>
                    </a:lnTo>
                    <a:lnTo>
                      <a:pt x="437446" y="64861"/>
                    </a:lnTo>
                    <a:lnTo>
                      <a:pt x="437446" y="68551"/>
                    </a:lnTo>
                    <a:lnTo>
                      <a:pt x="433760" y="68551"/>
                    </a:lnTo>
                    <a:lnTo>
                      <a:pt x="433760" y="64861"/>
                    </a:lnTo>
                    <a:lnTo>
                      <a:pt x="430065" y="61170"/>
                    </a:lnTo>
                    <a:lnTo>
                      <a:pt x="430065" y="57480"/>
                    </a:lnTo>
                    <a:lnTo>
                      <a:pt x="426378" y="57480"/>
                    </a:lnTo>
                    <a:lnTo>
                      <a:pt x="430065" y="53789"/>
                    </a:lnTo>
                    <a:lnTo>
                      <a:pt x="426378" y="53789"/>
                    </a:lnTo>
                    <a:lnTo>
                      <a:pt x="422692" y="50098"/>
                    </a:lnTo>
                    <a:lnTo>
                      <a:pt x="422692" y="53789"/>
                    </a:lnTo>
                    <a:lnTo>
                      <a:pt x="418996" y="61170"/>
                    </a:lnTo>
                    <a:lnTo>
                      <a:pt x="418996" y="57480"/>
                    </a:lnTo>
                    <a:lnTo>
                      <a:pt x="418996" y="53789"/>
                    </a:lnTo>
                    <a:lnTo>
                      <a:pt x="411624" y="50098"/>
                    </a:lnTo>
                    <a:lnTo>
                      <a:pt x="407938" y="53789"/>
                    </a:lnTo>
                    <a:lnTo>
                      <a:pt x="407938" y="57480"/>
                    </a:lnTo>
                    <a:lnTo>
                      <a:pt x="415310" y="64861"/>
                    </a:lnTo>
                    <a:lnTo>
                      <a:pt x="415310" y="68551"/>
                    </a:lnTo>
                    <a:lnTo>
                      <a:pt x="411624" y="68551"/>
                    </a:lnTo>
                    <a:lnTo>
                      <a:pt x="411624" y="64861"/>
                    </a:lnTo>
                    <a:lnTo>
                      <a:pt x="407938" y="68551"/>
                    </a:lnTo>
                    <a:lnTo>
                      <a:pt x="407938" y="64861"/>
                    </a:lnTo>
                    <a:lnTo>
                      <a:pt x="404242" y="61170"/>
                    </a:lnTo>
                    <a:lnTo>
                      <a:pt x="404242" y="57480"/>
                    </a:lnTo>
                    <a:lnTo>
                      <a:pt x="404242" y="53789"/>
                    </a:lnTo>
                    <a:lnTo>
                      <a:pt x="404242" y="46408"/>
                    </a:lnTo>
                    <a:lnTo>
                      <a:pt x="400556" y="42717"/>
                    </a:lnTo>
                    <a:lnTo>
                      <a:pt x="400556" y="39027"/>
                    </a:lnTo>
                    <a:lnTo>
                      <a:pt x="404242" y="35336"/>
                    </a:lnTo>
                    <a:lnTo>
                      <a:pt x="400556" y="35336"/>
                    </a:lnTo>
                    <a:lnTo>
                      <a:pt x="400556" y="31645"/>
                    </a:lnTo>
                    <a:lnTo>
                      <a:pt x="400556" y="27955"/>
                    </a:lnTo>
                    <a:lnTo>
                      <a:pt x="396870" y="24264"/>
                    </a:lnTo>
                    <a:lnTo>
                      <a:pt x="400556" y="16883"/>
                    </a:lnTo>
                    <a:lnTo>
                      <a:pt x="400556" y="13192"/>
                    </a:lnTo>
                    <a:lnTo>
                      <a:pt x="400556" y="9502"/>
                    </a:lnTo>
                    <a:lnTo>
                      <a:pt x="407938" y="5812"/>
                    </a:lnTo>
                    <a:close/>
                    <a:moveTo>
                      <a:pt x="430065" y="53789"/>
                    </a:moveTo>
                    <a:lnTo>
                      <a:pt x="430065" y="57480"/>
                    </a:lnTo>
                    <a:lnTo>
                      <a:pt x="433760" y="61170"/>
                    </a:lnTo>
                    <a:lnTo>
                      <a:pt x="430065" y="53789"/>
                    </a:lnTo>
                    <a:close/>
                    <a:moveTo>
                      <a:pt x="24261" y="264151"/>
                    </a:moveTo>
                    <a:lnTo>
                      <a:pt x="13193" y="275223"/>
                    </a:lnTo>
                    <a:lnTo>
                      <a:pt x="9498" y="275223"/>
                    </a:lnTo>
                    <a:lnTo>
                      <a:pt x="5812" y="275223"/>
                    </a:lnTo>
                    <a:lnTo>
                      <a:pt x="9498" y="278913"/>
                    </a:lnTo>
                    <a:lnTo>
                      <a:pt x="13193" y="278913"/>
                    </a:lnTo>
                    <a:lnTo>
                      <a:pt x="16880" y="275223"/>
                    </a:lnTo>
                    <a:lnTo>
                      <a:pt x="24261" y="264151"/>
                    </a:lnTo>
                    <a:close/>
                    <a:moveTo>
                      <a:pt x="50084" y="190340"/>
                    </a:moveTo>
                    <a:lnTo>
                      <a:pt x="50084" y="186649"/>
                    </a:lnTo>
                    <a:lnTo>
                      <a:pt x="46398" y="190340"/>
                    </a:lnTo>
                    <a:lnTo>
                      <a:pt x="50084" y="190340"/>
                    </a:lnTo>
                    <a:close/>
                    <a:moveTo>
                      <a:pt x="407938" y="75933"/>
                    </a:moveTo>
                    <a:lnTo>
                      <a:pt x="411624" y="75933"/>
                    </a:lnTo>
                    <a:lnTo>
                      <a:pt x="411624" y="79623"/>
                    </a:lnTo>
                    <a:lnTo>
                      <a:pt x="407938" y="75933"/>
                    </a:lnTo>
                    <a:close/>
                    <a:moveTo>
                      <a:pt x="400556" y="79623"/>
                    </a:moveTo>
                    <a:lnTo>
                      <a:pt x="404242" y="79623"/>
                    </a:lnTo>
                    <a:lnTo>
                      <a:pt x="400556" y="83314"/>
                    </a:lnTo>
                    <a:lnTo>
                      <a:pt x="400556" y="79623"/>
                    </a:lnTo>
                    <a:close/>
                    <a:moveTo>
                      <a:pt x="39016" y="301057"/>
                    </a:moveTo>
                    <a:lnTo>
                      <a:pt x="42702" y="301057"/>
                    </a:lnTo>
                    <a:lnTo>
                      <a:pt x="39016" y="304748"/>
                    </a:lnTo>
                    <a:lnTo>
                      <a:pt x="39016" y="301057"/>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0" name="Google Shape;420;p2">
                <a:extLst>
                  <a:ext uri="{FF2B5EF4-FFF2-40B4-BE49-F238E27FC236}">
                    <a16:creationId xmlns:a16="http://schemas.microsoft.com/office/drawing/2014/main" id="{A23A1169-204F-48D7-9071-582CB29E4B80}"/>
                  </a:ext>
                </a:extLst>
              </p:cNvPr>
              <p:cNvSpPr/>
              <p:nvPr/>
            </p:nvSpPr>
            <p:spPr>
              <a:xfrm>
                <a:off x="4055166" y="1246309"/>
                <a:ext cx="21660" cy="43320"/>
              </a:xfrm>
              <a:custGeom>
                <a:avLst/>
                <a:gdLst/>
                <a:ahLst/>
                <a:cxnLst/>
                <a:rect l="l" t="t" r="r" b="b"/>
                <a:pathLst>
                  <a:path w="9525" h="19050" extrusionOk="0">
                    <a:moveTo>
                      <a:pt x="13193" y="9502"/>
                    </a:moveTo>
                    <a:lnTo>
                      <a:pt x="13193" y="13193"/>
                    </a:lnTo>
                    <a:lnTo>
                      <a:pt x="9507" y="16884"/>
                    </a:lnTo>
                    <a:lnTo>
                      <a:pt x="5812" y="16884"/>
                    </a:lnTo>
                    <a:lnTo>
                      <a:pt x="5812" y="16884"/>
                    </a:lnTo>
                    <a:lnTo>
                      <a:pt x="5812" y="13193"/>
                    </a:lnTo>
                    <a:lnTo>
                      <a:pt x="5812" y="9502"/>
                    </a:lnTo>
                    <a:lnTo>
                      <a:pt x="5812" y="9502"/>
                    </a:lnTo>
                    <a:lnTo>
                      <a:pt x="9507" y="5812"/>
                    </a:lnTo>
                    <a:lnTo>
                      <a:pt x="9507" y="5812"/>
                    </a:lnTo>
                    <a:lnTo>
                      <a:pt x="13193" y="5812"/>
                    </a:lnTo>
                    <a:lnTo>
                      <a:pt x="13193" y="950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1" name="Google Shape;421;p2">
                <a:extLst>
                  <a:ext uri="{FF2B5EF4-FFF2-40B4-BE49-F238E27FC236}">
                    <a16:creationId xmlns:a16="http://schemas.microsoft.com/office/drawing/2014/main" id="{3FD187C5-3896-4AB9-AD04-3662D2EDE468}"/>
                  </a:ext>
                </a:extLst>
              </p:cNvPr>
              <p:cNvSpPr/>
              <p:nvPr/>
            </p:nvSpPr>
            <p:spPr>
              <a:xfrm>
                <a:off x="3585361" y="1221131"/>
                <a:ext cx="411540" cy="108300"/>
              </a:xfrm>
              <a:custGeom>
                <a:avLst/>
                <a:gdLst/>
                <a:ahLst/>
                <a:cxnLst/>
                <a:rect l="l" t="t" r="r" b="b"/>
                <a:pathLst>
                  <a:path w="180975" h="47625" extrusionOk="0">
                    <a:moveTo>
                      <a:pt x="64847" y="16883"/>
                    </a:moveTo>
                    <a:lnTo>
                      <a:pt x="75906" y="16883"/>
                    </a:lnTo>
                    <a:lnTo>
                      <a:pt x="86974" y="16883"/>
                    </a:lnTo>
                    <a:lnTo>
                      <a:pt x="134942" y="13193"/>
                    </a:lnTo>
                    <a:lnTo>
                      <a:pt x="157068" y="9502"/>
                    </a:lnTo>
                    <a:lnTo>
                      <a:pt x="168137" y="9502"/>
                    </a:lnTo>
                    <a:lnTo>
                      <a:pt x="175519" y="13193"/>
                    </a:lnTo>
                    <a:lnTo>
                      <a:pt x="179205" y="13193"/>
                    </a:lnTo>
                    <a:lnTo>
                      <a:pt x="179205" y="16883"/>
                    </a:lnTo>
                    <a:lnTo>
                      <a:pt x="179205" y="16883"/>
                    </a:lnTo>
                    <a:lnTo>
                      <a:pt x="179205" y="20574"/>
                    </a:lnTo>
                    <a:lnTo>
                      <a:pt x="175519" y="20574"/>
                    </a:lnTo>
                    <a:lnTo>
                      <a:pt x="164450" y="20574"/>
                    </a:lnTo>
                    <a:lnTo>
                      <a:pt x="157068" y="20574"/>
                    </a:lnTo>
                    <a:lnTo>
                      <a:pt x="146001" y="20574"/>
                    </a:lnTo>
                    <a:lnTo>
                      <a:pt x="138628" y="24264"/>
                    </a:lnTo>
                    <a:lnTo>
                      <a:pt x="138628" y="24264"/>
                    </a:lnTo>
                    <a:lnTo>
                      <a:pt x="131246" y="27955"/>
                    </a:lnTo>
                    <a:lnTo>
                      <a:pt x="127560" y="27955"/>
                    </a:lnTo>
                    <a:lnTo>
                      <a:pt x="127560" y="27955"/>
                    </a:lnTo>
                    <a:lnTo>
                      <a:pt x="127560" y="27955"/>
                    </a:lnTo>
                    <a:lnTo>
                      <a:pt x="112806" y="31645"/>
                    </a:lnTo>
                    <a:lnTo>
                      <a:pt x="98042" y="35336"/>
                    </a:lnTo>
                    <a:lnTo>
                      <a:pt x="90670" y="35336"/>
                    </a:lnTo>
                    <a:lnTo>
                      <a:pt x="86974" y="35336"/>
                    </a:lnTo>
                    <a:lnTo>
                      <a:pt x="83288" y="35336"/>
                    </a:lnTo>
                    <a:lnTo>
                      <a:pt x="72220" y="31645"/>
                    </a:lnTo>
                    <a:lnTo>
                      <a:pt x="68534" y="31645"/>
                    </a:lnTo>
                    <a:lnTo>
                      <a:pt x="61152" y="31645"/>
                    </a:lnTo>
                    <a:lnTo>
                      <a:pt x="57466" y="31645"/>
                    </a:lnTo>
                    <a:lnTo>
                      <a:pt x="57466" y="35336"/>
                    </a:lnTo>
                    <a:lnTo>
                      <a:pt x="53779" y="39027"/>
                    </a:lnTo>
                    <a:lnTo>
                      <a:pt x="50084" y="42717"/>
                    </a:lnTo>
                    <a:lnTo>
                      <a:pt x="42711" y="42717"/>
                    </a:lnTo>
                    <a:lnTo>
                      <a:pt x="39016" y="46408"/>
                    </a:lnTo>
                    <a:lnTo>
                      <a:pt x="35330" y="46408"/>
                    </a:lnTo>
                    <a:lnTo>
                      <a:pt x="31643" y="46408"/>
                    </a:lnTo>
                    <a:lnTo>
                      <a:pt x="35330" y="46408"/>
                    </a:lnTo>
                    <a:lnTo>
                      <a:pt x="31643" y="50098"/>
                    </a:lnTo>
                    <a:lnTo>
                      <a:pt x="27948" y="46408"/>
                    </a:lnTo>
                    <a:lnTo>
                      <a:pt x="20575" y="46408"/>
                    </a:lnTo>
                    <a:lnTo>
                      <a:pt x="16880" y="42717"/>
                    </a:lnTo>
                    <a:lnTo>
                      <a:pt x="9507" y="39027"/>
                    </a:lnTo>
                    <a:lnTo>
                      <a:pt x="5812" y="31645"/>
                    </a:lnTo>
                    <a:lnTo>
                      <a:pt x="5812" y="27955"/>
                    </a:lnTo>
                    <a:lnTo>
                      <a:pt x="9507" y="24264"/>
                    </a:lnTo>
                    <a:lnTo>
                      <a:pt x="13193" y="16883"/>
                    </a:lnTo>
                    <a:lnTo>
                      <a:pt x="16880" y="13193"/>
                    </a:lnTo>
                    <a:lnTo>
                      <a:pt x="24261" y="5812"/>
                    </a:lnTo>
                    <a:lnTo>
                      <a:pt x="27948" y="5812"/>
                    </a:lnTo>
                    <a:lnTo>
                      <a:pt x="31643" y="5812"/>
                    </a:lnTo>
                    <a:lnTo>
                      <a:pt x="35330" y="9502"/>
                    </a:lnTo>
                    <a:lnTo>
                      <a:pt x="39016" y="9502"/>
                    </a:lnTo>
                    <a:lnTo>
                      <a:pt x="42711" y="13193"/>
                    </a:lnTo>
                    <a:lnTo>
                      <a:pt x="39016" y="13193"/>
                    </a:lnTo>
                    <a:lnTo>
                      <a:pt x="39016" y="13193"/>
                    </a:lnTo>
                    <a:lnTo>
                      <a:pt x="35330" y="9502"/>
                    </a:lnTo>
                    <a:lnTo>
                      <a:pt x="35330" y="9502"/>
                    </a:lnTo>
                    <a:lnTo>
                      <a:pt x="31643" y="9502"/>
                    </a:lnTo>
                    <a:lnTo>
                      <a:pt x="24261" y="9502"/>
                    </a:lnTo>
                    <a:lnTo>
                      <a:pt x="20575" y="13193"/>
                    </a:lnTo>
                    <a:lnTo>
                      <a:pt x="27948" y="13193"/>
                    </a:lnTo>
                    <a:lnTo>
                      <a:pt x="31643" y="13193"/>
                    </a:lnTo>
                    <a:lnTo>
                      <a:pt x="31643" y="13193"/>
                    </a:lnTo>
                    <a:lnTo>
                      <a:pt x="46398" y="16883"/>
                    </a:lnTo>
                    <a:lnTo>
                      <a:pt x="64847" y="16883"/>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2" name="Google Shape;422;p2">
                <a:extLst>
                  <a:ext uri="{FF2B5EF4-FFF2-40B4-BE49-F238E27FC236}">
                    <a16:creationId xmlns:a16="http://schemas.microsoft.com/office/drawing/2014/main" id="{8186247F-622B-4C45-8C4F-5444BCF35159}"/>
                  </a:ext>
                </a:extLst>
              </p:cNvPr>
              <p:cNvSpPr/>
              <p:nvPr/>
            </p:nvSpPr>
            <p:spPr>
              <a:xfrm>
                <a:off x="4139055" y="1145599"/>
                <a:ext cx="259920" cy="129960"/>
              </a:xfrm>
              <a:custGeom>
                <a:avLst/>
                <a:gdLst/>
                <a:ahLst/>
                <a:cxnLst/>
                <a:rect l="l" t="t" r="r" b="b"/>
                <a:pathLst>
                  <a:path w="114300" h="57150" extrusionOk="0">
                    <a:moveTo>
                      <a:pt x="112806" y="9502"/>
                    </a:moveTo>
                    <a:lnTo>
                      <a:pt x="112806" y="16883"/>
                    </a:lnTo>
                    <a:lnTo>
                      <a:pt x="109110" y="16883"/>
                    </a:lnTo>
                    <a:lnTo>
                      <a:pt x="105424" y="16883"/>
                    </a:lnTo>
                    <a:lnTo>
                      <a:pt x="101738" y="16883"/>
                    </a:lnTo>
                    <a:lnTo>
                      <a:pt x="98042" y="16883"/>
                    </a:lnTo>
                    <a:lnTo>
                      <a:pt x="90670" y="20574"/>
                    </a:lnTo>
                    <a:lnTo>
                      <a:pt x="90670" y="20574"/>
                    </a:lnTo>
                    <a:lnTo>
                      <a:pt x="79602" y="24264"/>
                    </a:lnTo>
                    <a:lnTo>
                      <a:pt x="75906" y="27955"/>
                    </a:lnTo>
                    <a:lnTo>
                      <a:pt x="75906" y="31646"/>
                    </a:lnTo>
                    <a:lnTo>
                      <a:pt x="68534" y="35336"/>
                    </a:lnTo>
                    <a:lnTo>
                      <a:pt x="64838" y="35336"/>
                    </a:lnTo>
                    <a:lnTo>
                      <a:pt x="57466" y="35336"/>
                    </a:lnTo>
                    <a:lnTo>
                      <a:pt x="57466" y="35336"/>
                    </a:lnTo>
                    <a:lnTo>
                      <a:pt x="53770" y="35336"/>
                    </a:lnTo>
                    <a:lnTo>
                      <a:pt x="53770" y="35336"/>
                    </a:lnTo>
                    <a:lnTo>
                      <a:pt x="42702" y="39027"/>
                    </a:lnTo>
                    <a:lnTo>
                      <a:pt x="39016" y="39027"/>
                    </a:lnTo>
                    <a:lnTo>
                      <a:pt x="39016" y="39027"/>
                    </a:lnTo>
                    <a:lnTo>
                      <a:pt x="27948" y="39027"/>
                    </a:lnTo>
                    <a:lnTo>
                      <a:pt x="24261" y="39027"/>
                    </a:lnTo>
                    <a:lnTo>
                      <a:pt x="20575" y="46408"/>
                    </a:lnTo>
                    <a:lnTo>
                      <a:pt x="20575" y="50098"/>
                    </a:lnTo>
                    <a:lnTo>
                      <a:pt x="16879" y="50098"/>
                    </a:lnTo>
                    <a:lnTo>
                      <a:pt x="16879" y="53789"/>
                    </a:lnTo>
                    <a:lnTo>
                      <a:pt x="16879" y="53789"/>
                    </a:lnTo>
                    <a:lnTo>
                      <a:pt x="13193" y="53789"/>
                    </a:lnTo>
                    <a:lnTo>
                      <a:pt x="13193" y="53789"/>
                    </a:lnTo>
                    <a:lnTo>
                      <a:pt x="9507" y="53789"/>
                    </a:lnTo>
                    <a:lnTo>
                      <a:pt x="9507" y="57480"/>
                    </a:lnTo>
                    <a:lnTo>
                      <a:pt x="9507" y="57480"/>
                    </a:lnTo>
                    <a:lnTo>
                      <a:pt x="5812" y="50098"/>
                    </a:lnTo>
                    <a:lnTo>
                      <a:pt x="5812" y="50098"/>
                    </a:lnTo>
                    <a:lnTo>
                      <a:pt x="5812" y="46408"/>
                    </a:lnTo>
                    <a:lnTo>
                      <a:pt x="9507" y="46408"/>
                    </a:lnTo>
                    <a:lnTo>
                      <a:pt x="13193" y="42717"/>
                    </a:lnTo>
                    <a:lnTo>
                      <a:pt x="9507" y="39027"/>
                    </a:lnTo>
                    <a:lnTo>
                      <a:pt x="9507" y="35336"/>
                    </a:lnTo>
                    <a:lnTo>
                      <a:pt x="9507" y="27955"/>
                    </a:lnTo>
                    <a:lnTo>
                      <a:pt x="13193" y="24264"/>
                    </a:lnTo>
                    <a:lnTo>
                      <a:pt x="20575" y="20574"/>
                    </a:lnTo>
                    <a:lnTo>
                      <a:pt x="20575" y="16883"/>
                    </a:lnTo>
                    <a:lnTo>
                      <a:pt x="20575" y="16883"/>
                    </a:lnTo>
                    <a:lnTo>
                      <a:pt x="16879" y="16883"/>
                    </a:lnTo>
                    <a:lnTo>
                      <a:pt x="13193" y="16883"/>
                    </a:lnTo>
                    <a:lnTo>
                      <a:pt x="9507" y="16883"/>
                    </a:lnTo>
                    <a:lnTo>
                      <a:pt x="9507" y="16883"/>
                    </a:lnTo>
                    <a:lnTo>
                      <a:pt x="5812" y="16883"/>
                    </a:lnTo>
                    <a:lnTo>
                      <a:pt x="9507" y="16883"/>
                    </a:lnTo>
                    <a:lnTo>
                      <a:pt x="9507" y="16883"/>
                    </a:lnTo>
                    <a:lnTo>
                      <a:pt x="13193" y="13193"/>
                    </a:lnTo>
                    <a:lnTo>
                      <a:pt x="20575" y="16883"/>
                    </a:lnTo>
                    <a:lnTo>
                      <a:pt x="31643" y="16883"/>
                    </a:lnTo>
                    <a:lnTo>
                      <a:pt x="68534" y="13193"/>
                    </a:lnTo>
                    <a:lnTo>
                      <a:pt x="79602" y="13193"/>
                    </a:lnTo>
                    <a:lnTo>
                      <a:pt x="101738" y="9502"/>
                    </a:lnTo>
                    <a:lnTo>
                      <a:pt x="109110" y="5812"/>
                    </a:lnTo>
                    <a:lnTo>
                      <a:pt x="112806" y="950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3" name="Google Shape;423;p2">
                <a:extLst>
                  <a:ext uri="{FF2B5EF4-FFF2-40B4-BE49-F238E27FC236}">
                    <a16:creationId xmlns:a16="http://schemas.microsoft.com/office/drawing/2014/main" id="{E9387EDA-8DA4-4689-9BC4-8D8DCB775878}"/>
                  </a:ext>
                </a:extLst>
              </p:cNvPr>
              <p:cNvSpPr/>
              <p:nvPr/>
            </p:nvSpPr>
            <p:spPr>
              <a:xfrm>
                <a:off x="3182688" y="1623963"/>
                <a:ext cx="43320" cy="21660"/>
              </a:xfrm>
              <a:custGeom>
                <a:avLst/>
                <a:gdLst/>
                <a:ahLst/>
                <a:cxnLst/>
                <a:rect l="l" t="t" r="r" b="b"/>
                <a:pathLst>
                  <a:path w="19050" h="9525" extrusionOk="0">
                    <a:moveTo>
                      <a:pt x="9501" y="9503"/>
                    </a:moveTo>
                    <a:lnTo>
                      <a:pt x="9501" y="9503"/>
                    </a:lnTo>
                    <a:lnTo>
                      <a:pt x="9501" y="9503"/>
                    </a:lnTo>
                    <a:lnTo>
                      <a:pt x="5812" y="5812"/>
                    </a:lnTo>
                    <a:lnTo>
                      <a:pt x="9501" y="5812"/>
                    </a:lnTo>
                    <a:lnTo>
                      <a:pt x="9501" y="5812"/>
                    </a:lnTo>
                    <a:lnTo>
                      <a:pt x="16877" y="5812"/>
                    </a:lnTo>
                    <a:lnTo>
                      <a:pt x="20573" y="5812"/>
                    </a:lnTo>
                    <a:lnTo>
                      <a:pt x="20573" y="5812"/>
                    </a:lnTo>
                    <a:lnTo>
                      <a:pt x="16877" y="5812"/>
                    </a:lnTo>
                    <a:lnTo>
                      <a:pt x="16877" y="9503"/>
                    </a:lnTo>
                    <a:lnTo>
                      <a:pt x="13191" y="9503"/>
                    </a:lnTo>
                    <a:lnTo>
                      <a:pt x="13191" y="9503"/>
                    </a:lnTo>
                    <a:lnTo>
                      <a:pt x="9501" y="9503"/>
                    </a:lnTo>
                    <a:lnTo>
                      <a:pt x="9501" y="5812"/>
                    </a:lnTo>
                    <a:lnTo>
                      <a:pt x="9501" y="5812"/>
                    </a:lnTo>
                    <a:lnTo>
                      <a:pt x="9501" y="5812"/>
                    </a:lnTo>
                    <a:lnTo>
                      <a:pt x="9501" y="5812"/>
                    </a:lnTo>
                    <a:lnTo>
                      <a:pt x="9501" y="9503"/>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4" name="Google Shape;424;p2">
                <a:extLst>
                  <a:ext uri="{FF2B5EF4-FFF2-40B4-BE49-F238E27FC236}">
                    <a16:creationId xmlns:a16="http://schemas.microsoft.com/office/drawing/2014/main" id="{28A65CFA-B1A5-4C2C-85A7-6C472195C4AD}"/>
                  </a:ext>
                </a:extLst>
              </p:cNvPr>
              <p:cNvSpPr/>
              <p:nvPr/>
            </p:nvSpPr>
            <p:spPr>
              <a:xfrm>
                <a:off x="3090406" y="1263091"/>
                <a:ext cx="454860" cy="216600"/>
              </a:xfrm>
              <a:custGeom>
                <a:avLst/>
                <a:gdLst/>
                <a:ahLst/>
                <a:cxnLst/>
                <a:rect l="l" t="t" r="r" b="b"/>
                <a:pathLst>
                  <a:path w="200025" h="95250" extrusionOk="0">
                    <a:moveTo>
                      <a:pt x="138621" y="42717"/>
                    </a:moveTo>
                    <a:lnTo>
                      <a:pt x="123866" y="42717"/>
                    </a:lnTo>
                    <a:lnTo>
                      <a:pt x="116484" y="46408"/>
                    </a:lnTo>
                    <a:lnTo>
                      <a:pt x="112798" y="46408"/>
                    </a:lnTo>
                    <a:lnTo>
                      <a:pt x="109112" y="50098"/>
                    </a:lnTo>
                    <a:lnTo>
                      <a:pt x="109112" y="50098"/>
                    </a:lnTo>
                    <a:lnTo>
                      <a:pt x="101730" y="57480"/>
                    </a:lnTo>
                    <a:lnTo>
                      <a:pt x="98044" y="61170"/>
                    </a:lnTo>
                    <a:lnTo>
                      <a:pt x="98044" y="61170"/>
                    </a:lnTo>
                    <a:lnTo>
                      <a:pt x="94348" y="61170"/>
                    </a:lnTo>
                    <a:lnTo>
                      <a:pt x="90662" y="61170"/>
                    </a:lnTo>
                    <a:lnTo>
                      <a:pt x="90662" y="64861"/>
                    </a:lnTo>
                    <a:lnTo>
                      <a:pt x="86976" y="64861"/>
                    </a:lnTo>
                    <a:lnTo>
                      <a:pt x="83280" y="61170"/>
                    </a:lnTo>
                    <a:lnTo>
                      <a:pt x="83280" y="64861"/>
                    </a:lnTo>
                    <a:lnTo>
                      <a:pt x="79594" y="64861"/>
                    </a:lnTo>
                    <a:lnTo>
                      <a:pt x="75908" y="68552"/>
                    </a:lnTo>
                    <a:lnTo>
                      <a:pt x="75908" y="68552"/>
                    </a:lnTo>
                    <a:lnTo>
                      <a:pt x="75908" y="68552"/>
                    </a:lnTo>
                    <a:lnTo>
                      <a:pt x="72222" y="68552"/>
                    </a:lnTo>
                    <a:lnTo>
                      <a:pt x="72222" y="72242"/>
                    </a:lnTo>
                    <a:lnTo>
                      <a:pt x="72222" y="72242"/>
                    </a:lnTo>
                    <a:lnTo>
                      <a:pt x="68526" y="68552"/>
                    </a:lnTo>
                    <a:lnTo>
                      <a:pt x="64840" y="68552"/>
                    </a:lnTo>
                    <a:lnTo>
                      <a:pt x="64840" y="68552"/>
                    </a:lnTo>
                    <a:lnTo>
                      <a:pt x="61154" y="68552"/>
                    </a:lnTo>
                    <a:lnTo>
                      <a:pt x="57458" y="68552"/>
                    </a:lnTo>
                    <a:lnTo>
                      <a:pt x="57458" y="68552"/>
                    </a:lnTo>
                    <a:lnTo>
                      <a:pt x="53772" y="72242"/>
                    </a:lnTo>
                    <a:lnTo>
                      <a:pt x="50082" y="75933"/>
                    </a:lnTo>
                    <a:lnTo>
                      <a:pt x="46393" y="72242"/>
                    </a:lnTo>
                    <a:lnTo>
                      <a:pt x="42704" y="75933"/>
                    </a:lnTo>
                    <a:lnTo>
                      <a:pt x="39015" y="75933"/>
                    </a:lnTo>
                    <a:lnTo>
                      <a:pt x="35326" y="79623"/>
                    </a:lnTo>
                    <a:lnTo>
                      <a:pt x="35326" y="83314"/>
                    </a:lnTo>
                    <a:lnTo>
                      <a:pt x="35326" y="83314"/>
                    </a:lnTo>
                    <a:lnTo>
                      <a:pt x="35326" y="83314"/>
                    </a:lnTo>
                    <a:lnTo>
                      <a:pt x="31637" y="83314"/>
                    </a:lnTo>
                    <a:lnTo>
                      <a:pt x="24258" y="87004"/>
                    </a:lnTo>
                    <a:lnTo>
                      <a:pt x="27947" y="87004"/>
                    </a:lnTo>
                    <a:lnTo>
                      <a:pt x="24258" y="90694"/>
                    </a:lnTo>
                    <a:lnTo>
                      <a:pt x="20569" y="90694"/>
                    </a:lnTo>
                    <a:lnTo>
                      <a:pt x="13191" y="90694"/>
                    </a:lnTo>
                    <a:lnTo>
                      <a:pt x="9502" y="83314"/>
                    </a:lnTo>
                    <a:lnTo>
                      <a:pt x="5812" y="83314"/>
                    </a:lnTo>
                    <a:lnTo>
                      <a:pt x="5812" y="83314"/>
                    </a:lnTo>
                    <a:lnTo>
                      <a:pt x="5812" y="79623"/>
                    </a:lnTo>
                    <a:lnTo>
                      <a:pt x="9502" y="75933"/>
                    </a:lnTo>
                    <a:lnTo>
                      <a:pt x="16880" y="64861"/>
                    </a:lnTo>
                    <a:lnTo>
                      <a:pt x="24258" y="53789"/>
                    </a:lnTo>
                    <a:lnTo>
                      <a:pt x="24258" y="53789"/>
                    </a:lnTo>
                    <a:lnTo>
                      <a:pt x="31637" y="50098"/>
                    </a:lnTo>
                    <a:lnTo>
                      <a:pt x="39015" y="46408"/>
                    </a:lnTo>
                    <a:lnTo>
                      <a:pt x="53772" y="42717"/>
                    </a:lnTo>
                    <a:lnTo>
                      <a:pt x="75908" y="39027"/>
                    </a:lnTo>
                    <a:lnTo>
                      <a:pt x="83280" y="39027"/>
                    </a:lnTo>
                    <a:lnTo>
                      <a:pt x="105416" y="31645"/>
                    </a:lnTo>
                    <a:lnTo>
                      <a:pt x="123866" y="24264"/>
                    </a:lnTo>
                    <a:lnTo>
                      <a:pt x="164443" y="9502"/>
                    </a:lnTo>
                    <a:lnTo>
                      <a:pt x="175511" y="9502"/>
                    </a:lnTo>
                    <a:lnTo>
                      <a:pt x="186579" y="5812"/>
                    </a:lnTo>
                    <a:lnTo>
                      <a:pt x="190275" y="9502"/>
                    </a:lnTo>
                    <a:lnTo>
                      <a:pt x="193961" y="9502"/>
                    </a:lnTo>
                    <a:lnTo>
                      <a:pt x="197647" y="13192"/>
                    </a:lnTo>
                    <a:lnTo>
                      <a:pt x="197647" y="13192"/>
                    </a:lnTo>
                    <a:lnTo>
                      <a:pt x="197647" y="20574"/>
                    </a:lnTo>
                    <a:lnTo>
                      <a:pt x="197647" y="24264"/>
                    </a:lnTo>
                    <a:lnTo>
                      <a:pt x="197647" y="24264"/>
                    </a:lnTo>
                    <a:lnTo>
                      <a:pt x="197647" y="20574"/>
                    </a:lnTo>
                    <a:lnTo>
                      <a:pt x="197647" y="16883"/>
                    </a:lnTo>
                    <a:lnTo>
                      <a:pt x="193961" y="13192"/>
                    </a:lnTo>
                    <a:lnTo>
                      <a:pt x="193961" y="13192"/>
                    </a:lnTo>
                    <a:lnTo>
                      <a:pt x="193961" y="16883"/>
                    </a:lnTo>
                    <a:lnTo>
                      <a:pt x="190275" y="20574"/>
                    </a:lnTo>
                    <a:lnTo>
                      <a:pt x="190275" y="20574"/>
                    </a:lnTo>
                    <a:lnTo>
                      <a:pt x="186579" y="24264"/>
                    </a:lnTo>
                    <a:lnTo>
                      <a:pt x="179207" y="24264"/>
                    </a:lnTo>
                    <a:lnTo>
                      <a:pt x="175511" y="24264"/>
                    </a:lnTo>
                    <a:lnTo>
                      <a:pt x="168139" y="27955"/>
                    </a:lnTo>
                    <a:lnTo>
                      <a:pt x="168139" y="27955"/>
                    </a:lnTo>
                    <a:lnTo>
                      <a:pt x="168139" y="27955"/>
                    </a:lnTo>
                    <a:lnTo>
                      <a:pt x="164443" y="24264"/>
                    </a:lnTo>
                    <a:lnTo>
                      <a:pt x="164443" y="24264"/>
                    </a:lnTo>
                    <a:lnTo>
                      <a:pt x="164443" y="24264"/>
                    </a:lnTo>
                    <a:lnTo>
                      <a:pt x="164443" y="24264"/>
                    </a:lnTo>
                    <a:lnTo>
                      <a:pt x="164443" y="27955"/>
                    </a:lnTo>
                    <a:lnTo>
                      <a:pt x="168139" y="27955"/>
                    </a:lnTo>
                    <a:lnTo>
                      <a:pt x="164443" y="31645"/>
                    </a:lnTo>
                    <a:lnTo>
                      <a:pt x="160757" y="31645"/>
                    </a:lnTo>
                    <a:lnTo>
                      <a:pt x="160757" y="31645"/>
                    </a:lnTo>
                    <a:lnTo>
                      <a:pt x="157070" y="31645"/>
                    </a:lnTo>
                    <a:lnTo>
                      <a:pt x="157070" y="27955"/>
                    </a:lnTo>
                    <a:lnTo>
                      <a:pt x="153375" y="27955"/>
                    </a:lnTo>
                    <a:lnTo>
                      <a:pt x="153375" y="27955"/>
                    </a:lnTo>
                    <a:lnTo>
                      <a:pt x="157070" y="31645"/>
                    </a:lnTo>
                    <a:lnTo>
                      <a:pt x="157070" y="35336"/>
                    </a:lnTo>
                    <a:lnTo>
                      <a:pt x="153375" y="35336"/>
                    </a:lnTo>
                    <a:lnTo>
                      <a:pt x="149689" y="35336"/>
                    </a:lnTo>
                    <a:lnTo>
                      <a:pt x="149689" y="35336"/>
                    </a:lnTo>
                    <a:lnTo>
                      <a:pt x="146002" y="31645"/>
                    </a:lnTo>
                    <a:lnTo>
                      <a:pt x="146002" y="31645"/>
                    </a:lnTo>
                    <a:lnTo>
                      <a:pt x="146002" y="31645"/>
                    </a:lnTo>
                    <a:lnTo>
                      <a:pt x="149689" y="35336"/>
                    </a:lnTo>
                    <a:lnTo>
                      <a:pt x="153375" y="39027"/>
                    </a:lnTo>
                    <a:lnTo>
                      <a:pt x="157070" y="39027"/>
                    </a:lnTo>
                    <a:lnTo>
                      <a:pt x="160757" y="39027"/>
                    </a:lnTo>
                    <a:lnTo>
                      <a:pt x="160757" y="39027"/>
                    </a:lnTo>
                    <a:lnTo>
                      <a:pt x="157070" y="42717"/>
                    </a:lnTo>
                    <a:lnTo>
                      <a:pt x="149689" y="42717"/>
                    </a:lnTo>
                    <a:lnTo>
                      <a:pt x="142316" y="42717"/>
                    </a:lnTo>
                    <a:lnTo>
                      <a:pt x="138621" y="42717"/>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5" name="Google Shape;425;p2">
                <a:extLst>
                  <a:ext uri="{FF2B5EF4-FFF2-40B4-BE49-F238E27FC236}">
                    <a16:creationId xmlns:a16="http://schemas.microsoft.com/office/drawing/2014/main" id="{D957785A-300D-42E9-8EB5-ECDA7ADFF791}"/>
                  </a:ext>
                </a:extLst>
              </p:cNvPr>
              <p:cNvSpPr/>
              <p:nvPr/>
            </p:nvSpPr>
            <p:spPr>
              <a:xfrm>
                <a:off x="3048462" y="1540039"/>
                <a:ext cx="64980" cy="43320"/>
              </a:xfrm>
              <a:custGeom>
                <a:avLst/>
                <a:gdLst/>
                <a:ahLst/>
                <a:cxnLst/>
                <a:rect l="l" t="t" r="r" b="b"/>
                <a:pathLst>
                  <a:path w="28575" h="19050" extrusionOk="0">
                    <a:moveTo>
                      <a:pt x="27947" y="5812"/>
                    </a:moveTo>
                    <a:lnTo>
                      <a:pt x="27947" y="5812"/>
                    </a:lnTo>
                    <a:lnTo>
                      <a:pt x="24257" y="9503"/>
                    </a:lnTo>
                    <a:lnTo>
                      <a:pt x="20568" y="13193"/>
                    </a:lnTo>
                    <a:lnTo>
                      <a:pt x="16879" y="13193"/>
                    </a:lnTo>
                    <a:lnTo>
                      <a:pt x="13190" y="13193"/>
                    </a:lnTo>
                    <a:lnTo>
                      <a:pt x="9501" y="13193"/>
                    </a:lnTo>
                    <a:lnTo>
                      <a:pt x="9501" y="13193"/>
                    </a:lnTo>
                    <a:lnTo>
                      <a:pt x="9501" y="16883"/>
                    </a:lnTo>
                    <a:lnTo>
                      <a:pt x="9501" y="16883"/>
                    </a:lnTo>
                    <a:lnTo>
                      <a:pt x="5812" y="16883"/>
                    </a:lnTo>
                    <a:lnTo>
                      <a:pt x="5812" y="16883"/>
                    </a:lnTo>
                    <a:lnTo>
                      <a:pt x="5812" y="13193"/>
                    </a:lnTo>
                    <a:lnTo>
                      <a:pt x="5812" y="13193"/>
                    </a:lnTo>
                    <a:lnTo>
                      <a:pt x="9501" y="13193"/>
                    </a:lnTo>
                    <a:lnTo>
                      <a:pt x="5812" y="13193"/>
                    </a:lnTo>
                    <a:lnTo>
                      <a:pt x="9501" y="9503"/>
                    </a:lnTo>
                    <a:lnTo>
                      <a:pt x="13190" y="5812"/>
                    </a:lnTo>
                    <a:lnTo>
                      <a:pt x="20568" y="5812"/>
                    </a:lnTo>
                    <a:lnTo>
                      <a:pt x="27947" y="5812"/>
                    </a:lnTo>
                    <a:lnTo>
                      <a:pt x="27947"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6" name="Google Shape;426;p2">
                <a:extLst>
                  <a:ext uri="{FF2B5EF4-FFF2-40B4-BE49-F238E27FC236}">
                    <a16:creationId xmlns:a16="http://schemas.microsoft.com/office/drawing/2014/main" id="{6611DCBD-283F-4B5F-A665-BEAA96F5E875}"/>
                  </a:ext>
                </a:extLst>
              </p:cNvPr>
              <p:cNvSpPr/>
              <p:nvPr/>
            </p:nvSpPr>
            <p:spPr>
              <a:xfrm>
                <a:off x="2763225" y="1523254"/>
                <a:ext cx="281580" cy="194940"/>
              </a:xfrm>
              <a:custGeom>
                <a:avLst/>
                <a:gdLst/>
                <a:ahLst/>
                <a:cxnLst/>
                <a:rect l="l" t="t" r="r" b="b"/>
                <a:pathLst>
                  <a:path w="123825" h="85725" extrusionOk="0">
                    <a:moveTo>
                      <a:pt x="105420" y="16883"/>
                    </a:moveTo>
                    <a:lnTo>
                      <a:pt x="105420" y="20574"/>
                    </a:lnTo>
                    <a:lnTo>
                      <a:pt x="101730" y="24264"/>
                    </a:lnTo>
                    <a:lnTo>
                      <a:pt x="94352" y="27955"/>
                    </a:lnTo>
                    <a:lnTo>
                      <a:pt x="72217" y="35336"/>
                    </a:lnTo>
                    <a:lnTo>
                      <a:pt x="64839" y="39027"/>
                    </a:lnTo>
                    <a:lnTo>
                      <a:pt x="64839" y="42717"/>
                    </a:lnTo>
                    <a:lnTo>
                      <a:pt x="64839" y="50098"/>
                    </a:lnTo>
                    <a:lnTo>
                      <a:pt x="68528" y="50098"/>
                    </a:lnTo>
                    <a:lnTo>
                      <a:pt x="68528" y="46408"/>
                    </a:lnTo>
                    <a:lnTo>
                      <a:pt x="68528" y="46408"/>
                    </a:lnTo>
                    <a:lnTo>
                      <a:pt x="68528" y="46408"/>
                    </a:lnTo>
                    <a:lnTo>
                      <a:pt x="68528" y="46408"/>
                    </a:lnTo>
                    <a:lnTo>
                      <a:pt x="72217" y="46408"/>
                    </a:lnTo>
                    <a:lnTo>
                      <a:pt x="68528" y="50098"/>
                    </a:lnTo>
                    <a:lnTo>
                      <a:pt x="64839" y="57480"/>
                    </a:lnTo>
                    <a:lnTo>
                      <a:pt x="64839" y="57480"/>
                    </a:lnTo>
                    <a:lnTo>
                      <a:pt x="64839" y="57480"/>
                    </a:lnTo>
                    <a:lnTo>
                      <a:pt x="53771" y="64861"/>
                    </a:lnTo>
                    <a:lnTo>
                      <a:pt x="50082" y="68552"/>
                    </a:lnTo>
                    <a:lnTo>
                      <a:pt x="46393" y="68552"/>
                    </a:lnTo>
                    <a:lnTo>
                      <a:pt x="46393" y="72242"/>
                    </a:lnTo>
                    <a:lnTo>
                      <a:pt x="42704" y="75933"/>
                    </a:lnTo>
                    <a:lnTo>
                      <a:pt x="35326" y="79623"/>
                    </a:lnTo>
                    <a:lnTo>
                      <a:pt x="35326" y="79623"/>
                    </a:lnTo>
                    <a:lnTo>
                      <a:pt x="35326" y="79623"/>
                    </a:lnTo>
                    <a:lnTo>
                      <a:pt x="31636" y="79623"/>
                    </a:lnTo>
                    <a:lnTo>
                      <a:pt x="24258" y="79623"/>
                    </a:lnTo>
                    <a:lnTo>
                      <a:pt x="13191" y="79623"/>
                    </a:lnTo>
                    <a:lnTo>
                      <a:pt x="9502" y="83314"/>
                    </a:lnTo>
                    <a:lnTo>
                      <a:pt x="9502" y="83314"/>
                    </a:lnTo>
                    <a:lnTo>
                      <a:pt x="9502" y="87005"/>
                    </a:lnTo>
                    <a:lnTo>
                      <a:pt x="13191" y="87005"/>
                    </a:lnTo>
                    <a:lnTo>
                      <a:pt x="9502" y="87005"/>
                    </a:lnTo>
                    <a:lnTo>
                      <a:pt x="5812" y="87005"/>
                    </a:lnTo>
                    <a:lnTo>
                      <a:pt x="5812" y="87005"/>
                    </a:lnTo>
                    <a:lnTo>
                      <a:pt x="5812" y="79623"/>
                    </a:lnTo>
                    <a:lnTo>
                      <a:pt x="5812" y="75933"/>
                    </a:lnTo>
                    <a:lnTo>
                      <a:pt x="5812" y="72242"/>
                    </a:lnTo>
                    <a:lnTo>
                      <a:pt x="27947" y="61170"/>
                    </a:lnTo>
                    <a:lnTo>
                      <a:pt x="39015" y="50098"/>
                    </a:lnTo>
                    <a:lnTo>
                      <a:pt x="46393" y="46408"/>
                    </a:lnTo>
                    <a:lnTo>
                      <a:pt x="53771" y="39027"/>
                    </a:lnTo>
                    <a:lnTo>
                      <a:pt x="57460" y="35336"/>
                    </a:lnTo>
                    <a:lnTo>
                      <a:pt x="72217" y="24264"/>
                    </a:lnTo>
                    <a:lnTo>
                      <a:pt x="79595" y="20574"/>
                    </a:lnTo>
                    <a:lnTo>
                      <a:pt x="83285" y="16883"/>
                    </a:lnTo>
                    <a:lnTo>
                      <a:pt x="83285" y="16883"/>
                    </a:lnTo>
                    <a:lnTo>
                      <a:pt x="94352" y="13192"/>
                    </a:lnTo>
                    <a:lnTo>
                      <a:pt x="101730" y="9503"/>
                    </a:lnTo>
                    <a:lnTo>
                      <a:pt x="109109" y="5812"/>
                    </a:lnTo>
                    <a:lnTo>
                      <a:pt x="112798" y="5812"/>
                    </a:lnTo>
                    <a:lnTo>
                      <a:pt x="123865" y="9503"/>
                    </a:lnTo>
                    <a:lnTo>
                      <a:pt x="123865" y="13192"/>
                    </a:lnTo>
                    <a:lnTo>
                      <a:pt x="120176" y="16883"/>
                    </a:lnTo>
                    <a:lnTo>
                      <a:pt x="120176" y="16883"/>
                    </a:lnTo>
                    <a:lnTo>
                      <a:pt x="120176" y="16883"/>
                    </a:lnTo>
                    <a:lnTo>
                      <a:pt x="116487" y="16883"/>
                    </a:lnTo>
                    <a:lnTo>
                      <a:pt x="112798" y="16883"/>
                    </a:lnTo>
                    <a:lnTo>
                      <a:pt x="105420" y="16883"/>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7" name="Google Shape;427;p2">
                <a:extLst>
                  <a:ext uri="{FF2B5EF4-FFF2-40B4-BE49-F238E27FC236}">
                    <a16:creationId xmlns:a16="http://schemas.microsoft.com/office/drawing/2014/main" id="{0952D0FE-9112-457E-91F9-1B2934B059B4}"/>
                  </a:ext>
                </a:extLst>
              </p:cNvPr>
              <p:cNvSpPr/>
              <p:nvPr/>
            </p:nvSpPr>
            <p:spPr>
              <a:xfrm>
                <a:off x="4382359" y="1153991"/>
                <a:ext cx="21660" cy="21660"/>
              </a:xfrm>
              <a:custGeom>
                <a:avLst/>
                <a:gdLst/>
                <a:ahLst/>
                <a:cxnLst/>
                <a:rect l="l" t="t" r="r" b="b"/>
                <a:pathLst>
                  <a:path w="9525" h="9525" extrusionOk="0">
                    <a:moveTo>
                      <a:pt x="5812" y="5812"/>
                    </a:moveTo>
                    <a:lnTo>
                      <a:pt x="13184" y="5812"/>
                    </a:lnTo>
                    <a:lnTo>
                      <a:pt x="13184" y="5812"/>
                    </a:lnTo>
                    <a:lnTo>
                      <a:pt x="13184" y="9502"/>
                    </a:lnTo>
                    <a:lnTo>
                      <a:pt x="13184" y="9502"/>
                    </a:lnTo>
                    <a:lnTo>
                      <a:pt x="5812" y="13193"/>
                    </a:lnTo>
                    <a:lnTo>
                      <a:pt x="5812"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8" name="Google Shape;428;p2">
                <a:extLst>
                  <a:ext uri="{FF2B5EF4-FFF2-40B4-BE49-F238E27FC236}">
                    <a16:creationId xmlns:a16="http://schemas.microsoft.com/office/drawing/2014/main" id="{6F57E23D-5A2B-4266-B4E6-B80667310C5D}"/>
                  </a:ext>
                </a:extLst>
              </p:cNvPr>
              <p:cNvSpPr/>
              <p:nvPr/>
            </p:nvSpPr>
            <p:spPr>
              <a:xfrm>
                <a:off x="4491420" y="1070068"/>
                <a:ext cx="86640" cy="86640"/>
              </a:xfrm>
              <a:custGeom>
                <a:avLst/>
                <a:gdLst/>
                <a:ahLst/>
                <a:cxnLst/>
                <a:rect l="l" t="t" r="r" b="b"/>
                <a:pathLst>
                  <a:path w="38100" h="38100" extrusionOk="0">
                    <a:moveTo>
                      <a:pt x="24252" y="9502"/>
                    </a:moveTo>
                    <a:lnTo>
                      <a:pt x="24252" y="13193"/>
                    </a:lnTo>
                    <a:lnTo>
                      <a:pt x="24252" y="13193"/>
                    </a:lnTo>
                    <a:lnTo>
                      <a:pt x="27948" y="16883"/>
                    </a:lnTo>
                    <a:lnTo>
                      <a:pt x="31634" y="20574"/>
                    </a:lnTo>
                    <a:lnTo>
                      <a:pt x="35320" y="24264"/>
                    </a:lnTo>
                    <a:lnTo>
                      <a:pt x="31634" y="20574"/>
                    </a:lnTo>
                    <a:lnTo>
                      <a:pt x="27948" y="20574"/>
                    </a:lnTo>
                    <a:lnTo>
                      <a:pt x="20566" y="20574"/>
                    </a:lnTo>
                    <a:lnTo>
                      <a:pt x="16880" y="20574"/>
                    </a:lnTo>
                    <a:lnTo>
                      <a:pt x="16880" y="20574"/>
                    </a:lnTo>
                    <a:lnTo>
                      <a:pt x="16880" y="24264"/>
                    </a:lnTo>
                    <a:lnTo>
                      <a:pt x="16880" y="27955"/>
                    </a:lnTo>
                    <a:lnTo>
                      <a:pt x="20566" y="27955"/>
                    </a:lnTo>
                    <a:lnTo>
                      <a:pt x="20566" y="27955"/>
                    </a:lnTo>
                    <a:lnTo>
                      <a:pt x="16880" y="35336"/>
                    </a:lnTo>
                    <a:lnTo>
                      <a:pt x="13184" y="31646"/>
                    </a:lnTo>
                    <a:lnTo>
                      <a:pt x="9498" y="20574"/>
                    </a:lnTo>
                    <a:lnTo>
                      <a:pt x="5812" y="16883"/>
                    </a:lnTo>
                    <a:lnTo>
                      <a:pt x="5812" y="13193"/>
                    </a:lnTo>
                    <a:lnTo>
                      <a:pt x="9498" y="5812"/>
                    </a:lnTo>
                    <a:lnTo>
                      <a:pt x="13184" y="5812"/>
                    </a:lnTo>
                    <a:lnTo>
                      <a:pt x="16880" y="5812"/>
                    </a:lnTo>
                    <a:lnTo>
                      <a:pt x="20566" y="5812"/>
                    </a:lnTo>
                    <a:lnTo>
                      <a:pt x="24252" y="9502"/>
                    </a:lnTo>
                    <a:lnTo>
                      <a:pt x="24252" y="9502"/>
                    </a:lnTo>
                    <a:lnTo>
                      <a:pt x="24252" y="950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59" name="Google Shape;429;p2">
                <a:extLst>
                  <a:ext uri="{FF2B5EF4-FFF2-40B4-BE49-F238E27FC236}">
                    <a16:creationId xmlns:a16="http://schemas.microsoft.com/office/drawing/2014/main" id="{204085D1-B7EE-4068-A127-8BB6C292720B}"/>
                  </a:ext>
                </a:extLst>
              </p:cNvPr>
              <p:cNvSpPr/>
              <p:nvPr/>
            </p:nvSpPr>
            <p:spPr>
              <a:xfrm>
                <a:off x="4608857" y="1086853"/>
                <a:ext cx="64980" cy="21660"/>
              </a:xfrm>
              <a:custGeom>
                <a:avLst/>
                <a:gdLst/>
                <a:ahLst/>
                <a:cxnLst/>
                <a:rect l="l" t="t" r="r" b="b"/>
                <a:pathLst>
                  <a:path w="28575" h="9525" extrusionOk="0">
                    <a:moveTo>
                      <a:pt x="9498" y="5812"/>
                    </a:moveTo>
                    <a:lnTo>
                      <a:pt x="16880" y="5812"/>
                    </a:lnTo>
                    <a:lnTo>
                      <a:pt x="24262" y="5812"/>
                    </a:lnTo>
                    <a:lnTo>
                      <a:pt x="31634" y="9502"/>
                    </a:lnTo>
                    <a:lnTo>
                      <a:pt x="31634" y="13193"/>
                    </a:lnTo>
                    <a:lnTo>
                      <a:pt x="31634" y="9502"/>
                    </a:lnTo>
                    <a:lnTo>
                      <a:pt x="24262" y="9502"/>
                    </a:lnTo>
                    <a:lnTo>
                      <a:pt x="16880" y="9502"/>
                    </a:lnTo>
                    <a:lnTo>
                      <a:pt x="13194" y="9502"/>
                    </a:lnTo>
                    <a:lnTo>
                      <a:pt x="13194" y="9502"/>
                    </a:lnTo>
                    <a:lnTo>
                      <a:pt x="9498" y="9502"/>
                    </a:lnTo>
                    <a:lnTo>
                      <a:pt x="5812" y="13193"/>
                    </a:lnTo>
                    <a:lnTo>
                      <a:pt x="5812" y="13193"/>
                    </a:lnTo>
                    <a:lnTo>
                      <a:pt x="5812" y="9502"/>
                    </a:lnTo>
                    <a:lnTo>
                      <a:pt x="9498" y="5812"/>
                    </a:lnTo>
                    <a:lnTo>
                      <a:pt x="9498"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60" name="Google Shape;430;p2">
                <a:extLst>
                  <a:ext uri="{FF2B5EF4-FFF2-40B4-BE49-F238E27FC236}">
                    <a16:creationId xmlns:a16="http://schemas.microsoft.com/office/drawing/2014/main" id="{AE2F6DAF-AF12-4CD9-8935-33DAE0ECD03B}"/>
                  </a:ext>
                </a:extLst>
              </p:cNvPr>
              <p:cNvSpPr/>
              <p:nvPr/>
            </p:nvSpPr>
            <p:spPr>
              <a:xfrm>
                <a:off x="4206179" y="1397371"/>
                <a:ext cx="43320" cy="21660"/>
              </a:xfrm>
              <a:custGeom>
                <a:avLst/>
                <a:gdLst/>
                <a:ahLst/>
                <a:cxnLst/>
                <a:rect l="l" t="t" r="r" b="b"/>
                <a:pathLst>
                  <a:path w="19050" h="9525" extrusionOk="0">
                    <a:moveTo>
                      <a:pt x="5812" y="5812"/>
                    </a:moveTo>
                    <a:lnTo>
                      <a:pt x="9498" y="9503"/>
                    </a:lnTo>
                    <a:lnTo>
                      <a:pt x="9498" y="5812"/>
                    </a:lnTo>
                    <a:lnTo>
                      <a:pt x="9498" y="5812"/>
                    </a:lnTo>
                    <a:lnTo>
                      <a:pt x="16879" y="9503"/>
                    </a:lnTo>
                    <a:lnTo>
                      <a:pt x="16879" y="9503"/>
                    </a:lnTo>
                    <a:lnTo>
                      <a:pt x="16879" y="13192"/>
                    </a:lnTo>
                    <a:lnTo>
                      <a:pt x="16879" y="13192"/>
                    </a:lnTo>
                    <a:lnTo>
                      <a:pt x="13184" y="13192"/>
                    </a:lnTo>
                    <a:lnTo>
                      <a:pt x="9498" y="13192"/>
                    </a:lnTo>
                    <a:lnTo>
                      <a:pt x="5812" y="9503"/>
                    </a:lnTo>
                    <a:lnTo>
                      <a:pt x="5812" y="5812"/>
                    </a:lnTo>
                    <a:lnTo>
                      <a:pt x="5812"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grpSp>
        <p:sp>
          <p:nvSpPr>
            <p:cNvPr id="24" name="Google Shape;431;p2">
              <a:extLst>
                <a:ext uri="{FF2B5EF4-FFF2-40B4-BE49-F238E27FC236}">
                  <a16:creationId xmlns:a16="http://schemas.microsoft.com/office/drawing/2014/main" id="{2B1B074A-F127-4470-AFDB-43453E255117}"/>
                </a:ext>
              </a:extLst>
            </p:cNvPr>
            <p:cNvSpPr/>
            <p:nvPr/>
          </p:nvSpPr>
          <p:spPr>
            <a:xfrm>
              <a:off x="1429335" y="4309525"/>
              <a:ext cx="563160" cy="281580"/>
            </a:xfrm>
            <a:custGeom>
              <a:avLst/>
              <a:gdLst/>
              <a:ahLst/>
              <a:cxnLst/>
              <a:rect l="l" t="t" r="r" b="b"/>
              <a:pathLst>
                <a:path w="247650" h="123825" extrusionOk="0">
                  <a:moveTo>
                    <a:pt x="131243" y="105462"/>
                  </a:moveTo>
                  <a:lnTo>
                    <a:pt x="127554" y="109148"/>
                  </a:lnTo>
                  <a:lnTo>
                    <a:pt x="123865" y="109148"/>
                  </a:lnTo>
                  <a:lnTo>
                    <a:pt x="123865" y="109148"/>
                  </a:lnTo>
                  <a:lnTo>
                    <a:pt x="120176" y="109148"/>
                  </a:lnTo>
                  <a:lnTo>
                    <a:pt x="120176" y="109148"/>
                  </a:lnTo>
                  <a:lnTo>
                    <a:pt x="112798" y="105462"/>
                  </a:lnTo>
                  <a:lnTo>
                    <a:pt x="109108" y="105462"/>
                  </a:lnTo>
                  <a:lnTo>
                    <a:pt x="109108" y="105462"/>
                  </a:lnTo>
                  <a:lnTo>
                    <a:pt x="116487" y="101766"/>
                  </a:lnTo>
                  <a:lnTo>
                    <a:pt x="116487" y="98080"/>
                  </a:lnTo>
                  <a:lnTo>
                    <a:pt x="116487" y="101766"/>
                  </a:lnTo>
                  <a:lnTo>
                    <a:pt x="109108" y="105462"/>
                  </a:lnTo>
                  <a:lnTo>
                    <a:pt x="105419" y="105462"/>
                  </a:lnTo>
                  <a:lnTo>
                    <a:pt x="109108" y="98080"/>
                  </a:lnTo>
                  <a:lnTo>
                    <a:pt x="105419" y="94385"/>
                  </a:lnTo>
                  <a:lnTo>
                    <a:pt x="105419" y="87003"/>
                  </a:lnTo>
                  <a:lnTo>
                    <a:pt x="101730" y="87003"/>
                  </a:lnTo>
                  <a:lnTo>
                    <a:pt x="101730" y="83317"/>
                  </a:lnTo>
                  <a:lnTo>
                    <a:pt x="101730" y="79621"/>
                  </a:lnTo>
                  <a:lnTo>
                    <a:pt x="98041" y="72248"/>
                  </a:lnTo>
                  <a:lnTo>
                    <a:pt x="90663" y="68553"/>
                  </a:lnTo>
                  <a:lnTo>
                    <a:pt x="86973" y="72248"/>
                  </a:lnTo>
                  <a:lnTo>
                    <a:pt x="86973" y="68553"/>
                  </a:lnTo>
                  <a:lnTo>
                    <a:pt x="75906" y="64867"/>
                  </a:lnTo>
                  <a:lnTo>
                    <a:pt x="75906" y="64867"/>
                  </a:lnTo>
                  <a:lnTo>
                    <a:pt x="75906" y="64867"/>
                  </a:lnTo>
                  <a:lnTo>
                    <a:pt x="75906" y="61171"/>
                  </a:lnTo>
                  <a:lnTo>
                    <a:pt x="75906" y="61171"/>
                  </a:lnTo>
                  <a:lnTo>
                    <a:pt x="75906" y="57485"/>
                  </a:lnTo>
                  <a:lnTo>
                    <a:pt x="72217" y="53789"/>
                  </a:lnTo>
                  <a:lnTo>
                    <a:pt x="64838" y="53789"/>
                  </a:lnTo>
                  <a:lnTo>
                    <a:pt x="61149" y="53789"/>
                  </a:lnTo>
                  <a:lnTo>
                    <a:pt x="57460" y="57485"/>
                  </a:lnTo>
                  <a:lnTo>
                    <a:pt x="57460" y="61171"/>
                  </a:lnTo>
                  <a:lnTo>
                    <a:pt x="61149" y="61171"/>
                  </a:lnTo>
                  <a:lnTo>
                    <a:pt x="64838" y="57485"/>
                  </a:lnTo>
                  <a:lnTo>
                    <a:pt x="68528" y="61171"/>
                  </a:lnTo>
                  <a:lnTo>
                    <a:pt x="64838" y="57485"/>
                  </a:lnTo>
                  <a:lnTo>
                    <a:pt x="61149" y="61171"/>
                  </a:lnTo>
                  <a:lnTo>
                    <a:pt x="53771" y="61171"/>
                  </a:lnTo>
                  <a:lnTo>
                    <a:pt x="50082" y="68553"/>
                  </a:lnTo>
                  <a:lnTo>
                    <a:pt x="42704" y="72248"/>
                  </a:lnTo>
                  <a:lnTo>
                    <a:pt x="42704" y="72248"/>
                  </a:lnTo>
                  <a:lnTo>
                    <a:pt x="42704" y="72248"/>
                  </a:lnTo>
                  <a:lnTo>
                    <a:pt x="42704" y="72248"/>
                  </a:lnTo>
                  <a:lnTo>
                    <a:pt x="39014" y="72248"/>
                  </a:lnTo>
                  <a:lnTo>
                    <a:pt x="35325" y="72248"/>
                  </a:lnTo>
                  <a:lnTo>
                    <a:pt x="27947" y="75935"/>
                  </a:lnTo>
                  <a:lnTo>
                    <a:pt x="24258" y="79621"/>
                  </a:lnTo>
                  <a:lnTo>
                    <a:pt x="24258" y="87003"/>
                  </a:lnTo>
                  <a:lnTo>
                    <a:pt x="24258" y="87003"/>
                  </a:lnTo>
                  <a:lnTo>
                    <a:pt x="27947" y="87003"/>
                  </a:lnTo>
                  <a:lnTo>
                    <a:pt x="27947" y="90698"/>
                  </a:lnTo>
                  <a:lnTo>
                    <a:pt x="24258" y="90698"/>
                  </a:lnTo>
                  <a:lnTo>
                    <a:pt x="24258" y="90698"/>
                  </a:lnTo>
                  <a:lnTo>
                    <a:pt x="24258" y="90698"/>
                  </a:lnTo>
                  <a:lnTo>
                    <a:pt x="20569" y="87003"/>
                  </a:lnTo>
                  <a:lnTo>
                    <a:pt x="20569" y="87003"/>
                  </a:lnTo>
                  <a:lnTo>
                    <a:pt x="20569" y="87003"/>
                  </a:lnTo>
                  <a:lnTo>
                    <a:pt x="24258" y="87003"/>
                  </a:lnTo>
                  <a:lnTo>
                    <a:pt x="24258" y="87003"/>
                  </a:lnTo>
                  <a:lnTo>
                    <a:pt x="24258" y="79621"/>
                  </a:lnTo>
                  <a:lnTo>
                    <a:pt x="24258" y="79621"/>
                  </a:lnTo>
                  <a:lnTo>
                    <a:pt x="20569" y="75935"/>
                  </a:lnTo>
                  <a:lnTo>
                    <a:pt x="16879" y="75935"/>
                  </a:lnTo>
                  <a:lnTo>
                    <a:pt x="13190" y="75935"/>
                  </a:lnTo>
                  <a:lnTo>
                    <a:pt x="13190" y="72248"/>
                  </a:lnTo>
                  <a:lnTo>
                    <a:pt x="9501" y="68553"/>
                  </a:lnTo>
                  <a:lnTo>
                    <a:pt x="5812" y="61171"/>
                  </a:lnTo>
                  <a:lnTo>
                    <a:pt x="5812" y="53789"/>
                  </a:lnTo>
                  <a:lnTo>
                    <a:pt x="5812" y="46407"/>
                  </a:lnTo>
                  <a:lnTo>
                    <a:pt x="5812" y="42721"/>
                  </a:lnTo>
                  <a:lnTo>
                    <a:pt x="9501" y="35339"/>
                  </a:lnTo>
                  <a:lnTo>
                    <a:pt x="16879" y="27957"/>
                  </a:lnTo>
                  <a:lnTo>
                    <a:pt x="24258" y="24271"/>
                  </a:lnTo>
                  <a:lnTo>
                    <a:pt x="27947" y="24271"/>
                  </a:lnTo>
                  <a:lnTo>
                    <a:pt x="31636" y="24271"/>
                  </a:lnTo>
                  <a:lnTo>
                    <a:pt x="46393" y="20575"/>
                  </a:lnTo>
                  <a:lnTo>
                    <a:pt x="50082" y="16889"/>
                  </a:lnTo>
                  <a:lnTo>
                    <a:pt x="57460" y="16889"/>
                  </a:lnTo>
                  <a:lnTo>
                    <a:pt x="64838" y="16889"/>
                  </a:lnTo>
                  <a:lnTo>
                    <a:pt x="75906" y="20575"/>
                  </a:lnTo>
                  <a:lnTo>
                    <a:pt x="75906" y="16889"/>
                  </a:lnTo>
                  <a:lnTo>
                    <a:pt x="75906" y="16889"/>
                  </a:lnTo>
                  <a:lnTo>
                    <a:pt x="75906" y="13194"/>
                  </a:lnTo>
                  <a:lnTo>
                    <a:pt x="79595" y="9507"/>
                  </a:lnTo>
                  <a:lnTo>
                    <a:pt x="79595" y="5812"/>
                  </a:lnTo>
                  <a:lnTo>
                    <a:pt x="83284" y="5812"/>
                  </a:lnTo>
                  <a:lnTo>
                    <a:pt x="86973" y="5812"/>
                  </a:lnTo>
                  <a:lnTo>
                    <a:pt x="83284" y="9507"/>
                  </a:lnTo>
                  <a:lnTo>
                    <a:pt x="86973" y="9507"/>
                  </a:lnTo>
                  <a:lnTo>
                    <a:pt x="83284" y="13194"/>
                  </a:lnTo>
                  <a:lnTo>
                    <a:pt x="83284" y="13194"/>
                  </a:lnTo>
                  <a:lnTo>
                    <a:pt x="83284" y="13194"/>
                  </a:lnTo>
                  <a:lnTo>
                    <a:pt x="83284" y="13194"/>
                  </a:lnTo>
                  <a:lnTo>
                    <a:pt x="83284" y="9507"/>
                  </a:lnTo>
                  <a:lnTo>
                    <a:pt x="83284" y="9507"/>
                  </a:lnTo>
                  <a:lnTo>
                    <a:pt x="79595" y="9507"/>
                  </a:lnTo>
                  <a:lnTo>
                    <a:pt x="79595" y="13194"/>
                  </a:lnTo>
                  <a:lnTo>
                    <a:pt x="75906" y="20575"/>
                  </a:lnTo>
                  <a:lnTo>
                    <a:pt x="79595" y="20575"/>
                  </a:lnTo>
                  <a:lnTo>
                    <a:pt x="83284" y="20575"/>
                  </a:lnTo>
                  <a:lnTo>
                    <a:pt x="86973" y="20575"/>
                  </a:lnTo>
                  <a:lnTo>
                    <a:pt x="90663" y="20575"/>
                  </a:lnTo>
                  <a:lnTo>
                    <a:pt x="90663" y="20575"/>
                  </a:lnTo>
                  <a:lnTo>
                    <a:pt x="90663" y="20575"/>
                  </a:lnTo>
                  <a:lnTo>
                    <a:pt x="101730" y="20575"/>
                  </a:lnTo>
                  <a:lnTo>
                    <a:pt x="109108" y="16889"/>
                  </a:lnTo>
                  <a:lnTo>
                    <a:pt x="109108" y="16889"/>
                  </a:lnTo>
                  <a:lnTo>
                    <a:pt x="112798" y="20575"/>
                  </a:lnTo>
                  <a:lnTo>
                    <a:pt x="112798" y="20575"/>
                  </a:lnTo>
                  <a:lnTo>
                    <a:pt x="116487" y="24271"/>
                  </a:lnTo>
                  <a:lnTo>
                    <a:pt x="116487" y="27957"/>
                  </a:lnTo>
                  <a:lnTo>
                    <a:pt x="120176" y="27957"/>
                  </a:lnTo>
                  <a:lnTo>
                    <a:pt x="120176" y="27957"/>
                  </a:lnTo>
                  <a:lnTo>
                    <a:pt x="123865" y="27957"/>
                  </a:lnTo>
                  <a:lnTo>
                    <a:pt x="127554" y="27957"/>
                  </a:lnTo>
                  <a:lnTo>
                    <a:pt x="134932" y="24271"/>
                  </a:lnTo>
                  <a:lnTo>
                    <a:pt x="138622" y="27957"/>
                  </a:lnTo>
                  <a:lnTo>
                    <a:pt x="149690" y="27957"/>
                  </a:lnTo>
                  <a:lnTo>
                    <a:pt x="149690" y="27957"/>
                  </a:lnTo>
                  <a:lnTo>
                    <a:pt x="149690" y="31643"/>
                  </a:lnTo>
                  <a:lnTo>
                    <a:pt x="149690" y="31643"/>
                  </a:lnTo>
                  <a:lnTo>
                    <a:pt x="149690" y="27957"/>
                  </a:lnTo>
                  <a:lnTo>
                    <a:pt x="153379" y="31643"/>
                  </a:lnTo>
                  <a:lnTo>
                    <a:pt x="153379" y="39025"/>
                  </a:lnTo>
                  <a:lnTo>
                    <a:pt x="153379" y="39025"/>
                  </a:lnTo>
                  <a:lnTo>
                    <a:pt x="157068" y="42721"/>
                  </a:lnTo>
                  <a:lnTo>
                    <a:pt x="164447" y="50103"/>
                  </a:lnTo>
                  <a:lnTo>
                    <a:pt x="168136" y="57485"/>
                  </a:lnTo>
                  <a:lnTo>
                    <a:pt x="168136" y="64867"/>
                  </a:lnTo>
                  <a:lnTo>
                    <a:pt x="171825" y="64867"/>
                  </a:lnTo>
                  <a:lnTo>
                    <a:pt x="179203" y="64867"/>
                  </a:lnTo>
                  <a:lnTo>
                    <a:pt x="182893" y="64867"/>
                  </a:lnTo>
                  <a:lnTo>
                    <a:pt x="190271" y="68553"/>
                  </a:lnTo>
                  <a:lnTo>
                    <a:pt x="190271" y="68553"/>
                  </a:lnTo>
                  <a:lnTo>
                    <a:pt x="201338" y="75935"/>
                  </a:lnTo>
                  <a:lnTo>
                    <a:pt x="205028" y="75935"/>
                  </a:lnTo>
                  <a:lnTo>
                    <a:pt x="205028" y="75935"/>
                  </a:lnTo>
                  <a:lnTo>
                    <a:pt x="205028" y="79621"/>
                  </a:lnTo>
                  <a:lnTo>
                    <a:pt x="208717" y="79621"/>
                  </a:lnTo>
                  <a:lnTo>
                    <a:pt x="216095" y="72248"/>
                  </a:lnTo>
                  <a:lnTo>
                    <a:pt x="219784" y="72248"/>
                  </a:lnTo>
                  <a:lnTo>
                    <a:pt x="223473" y="72248"/>
                  </a:lnTo>
                  <a:lnTo>
                    <a:pt x="223473" y="72248"/>
                  </a:lnTo>
                  <a:lnTo>
                    <a:pt x="234541" y="72248"/>
                  </a:lnTo>
                  <a:lnTo>
                    <a:pt x="234541" y="72248"/>
                  </a:lnTo>
                  <a:lnTo>
                    <a:pt x="238230" y="68553"/>
                  </a:lnTo>
                  <a:lnTo>
                    <a:pt x="241919" y="68553"/>
                  </a:lnTo>
                  <a:lnTo>
                    <a:pt x="241919" y="75935"/>
                  </a:lnTo>
                  <a:lnTo>
                    <a:pt x="241919" y="79621"/>
                  </a:lnTo>
                  <a:lnTo>
                    <a:pt x="245608" y="79621"/>
                  </a:lnTo>
                  <a:lnTo>
                    <a:pt x="245608" y="79621"/>
                  </a:lnTo>
                  <a:lnTo>
                    <a:pt x="241919" y="83317"/>
                  </a:lnTo>
                  <a:lnTo>
                    <a:pt x="241919" y="83317"/>
                  </a:lnTo>
                  <a:lnTo>
                    <a:pt x="238230" y="83317"/>
                  </a:lnTo>
                  <a:lnTo>
                    <a:pt x="241919" y="79621"/>
                  </a:lnTo>
                  <a:lnTo>
                    <a:pt x="241919" y="79621"/>
                  </a:lnTo>
                  <a:lnTo>
                    <a:pt x="238230" y="75935"/>
                  </a:lnTo>
                  <a:lnTo>
                    <a:pt x="238230" y="72248"/>
                  </a:lnTo>
                  <a:lnTo>
                    <a:pt x="234541" y="72248"/>
                  </a:lnTo>
                  <a:lnTo>
                    <a:pt x="234541" y="75935"/>
                  </a:lnTo>
                  <a:lnTo>
                    <a:pt x="230852" y="72248"/>
                  </a:lnTo>
                  <a:lnTo>
                    <a:pt x="219784" y="75935"/>
                  </a:lnTo>
                  <a:lnTo>
                    <a:pt x="216095" y="75935"/>
                  </a:lnTo>
                  <a:lnTo>
                    <a:pt x="212406" y="79621"/>
                  </a:lnTo>
                  <a:lnTo>
                    <a:pt x="208717" y="79621"/>
                  </a:lnTo>
                  <a:lnTo>
                    <a:pt x="208717" y="83317"/>
                  </a:lnTo>
                  <a:lnTo>
                    <a:pt x="212406" y="87003"/>
                  </a:lnTo>
                  <a:lnTo>
                    <a:pt x="212406" y="87003"/>
                  </a:lnTo>
                  <a:lnTo>
                    <a:pt x="212406" y="90698"/>
                  </a:lnTo>
                  <a:lnTo>
                    <a:pt x="212406" y="90698"/>
                  </a:lnTo>
                  <a:lnTo>
                    <a:pt x="212406" y="90698"/>
                  </a:lnTo>
                  <a:lnTo>
                    <a:pt x="212406" y="90698"/>
                  </a:lnTo>
                  <a:lnTo>
                    <a:pt x="208717" y="94385"/>
                  </a:lnTo>
                  <a:lnTo>
                    <a:pt x="212406" y="94385"/>
                  </a:lnTo>
                  <a:lnTo>
                    <a:pt x="212406" y="90698"/>
                  </a:lnTo>
                  <a:lnTo>
                    <a:pt x="208717" y="94385"/>
                  </a:lnTo>
                  <a:lnTo>
                    <a:pt x="208717" y="98080"/>
                  </a:lnTo>
                  <a:lnTo>
                    <a:pt x="205028" y="98080"/>
                  </a:lnTo>
                  <a:lnTo>
                    <a:pt x="201338" y="101766"/>
                  </a:lnTo>
                  <a:lnTo>
                    <a:pt x="197649" y="109148"/>
                  </a:lnTo>
                  <a:lnTo>
                    <a:pt x="193960" y="109148"/>
                  </a:lnTo>
                  <a:lnTo>
                    <a:pt x="190271" y="112844"/>
                  </a:lnTo>
                  <a:lnTo>
                    <a:pt x="186582" y="109148"/>
                  </a:lnTo>
                  <a:lnTo>
                    <a:pt x="179203" y="112844"/>
                  </a:lnTo>
                  <a:lnTo>
                    <a:pt x="175514" y="116530"/>
                  </a:lnTo>
                  <a:lnTo>
                    <a:pt x="168136" y="116530"/>
                  </a:lnTo>
                  <a:lnTo>
                    <a:pt x="168136" y="120226"/>
                  </a:lnTo>
                  <a:lnTo>
                    <a:pt x="157068" y="120226"/>
                  </a:lnTo>
                  <a:lnTo>
                    <a:pt x="153379" y="120226"/>
                  </a:lnTo>
                  <a:lnTo>
                    <a:pt x="146000" y="120226"/>
                  </a:lnTo>
                  <a:lnTo>
                    <a:pt x="142311" y="120226"/>
                  </a:lnTo>
                  <a:lnTo>
                    <a:pt x="142311" y="120226"/>
                  </a:lnTo>
                  <a:lnTo>
                    <a:pt x="134932" y="112844"/>
                  </a:lnTo>
                  <a:lnTo>
                    <a:pt x="134932" y="112844"/>
                  </a:lnTo>
                  <a:lnTo>
                    <a:pt x="134932" y="112844"/>
                  </a:lnTo>
                  <a:lnTo>
                    <a:pt x="131243" y="105462"/>
                  </a:lnTo>
                  <a:lnTo>
                    <a:pt x="131243" y="10546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grpSp>
          <p:nvGrpSpPr>
            <p:cNvPr id="25" name="Google Shape;432;p2">
              <a:extLst>
                <a:ext uri="{FF2B5EF4-FFF2-40B4-BE49-F238E27FC236}">
                  <a16:creationId xmlns:a16="http://schemas.microsoft.com/office/drawing/2014/main" id="{4AB008EB-EF48-4B0B-89B8-20B1073D18AF}"/>
                </a:ext>
              </a:extLst>
            </p:cNvPr>
            <p:cNvGrpSpPr/>
            <p:nvPr/>
          </p:nvGrpSpPr>
          <p:grpSpPr>
            <a:xfrm>
              <a:off x="1043430" y="4343098"/>
              <a:ext cx="1053711" cy="985743"/>
              <a:chOff x="1043430" y="4343098"/>
              <a:chExt cx="1053711" cy="985743"/>
            </a:xfrm>
            <a:grpFill/>
          </p:grpSpPr>
          <p:sp>
            <p:nvSpPr>
              <p:cNvPr id="36" name="Google Shape;433;p2">
                <a:extLst>
                  <a:ext uri="{FF2B5EF4-FFF2-40B4-BE49-F238E27FC236}">
                    <a16:creationId xmlns:a16="http://schemas.microsoft.com/office/drawing/2014/main" id="{1C4C8F18-5D25-4152-9519-99B07E8E631E}"/>
                  </a:ext>
                </a:extLst>
              </p:cNvPr>
              <p:cNvSpPr/>
              <p:nvPr/>
            </p:nvSpPr>
            <p:spPr>
              <a:xfrm>
                <a:off x="1144103" y="4502561"/>
                <a:ext cx="953038" cy="519840"/>
              </a:xfrm>
              <a:custGeom>
                <a:avLst/>
                <a:gdLst/>
                <a:ahLst/>
                <a:cxnLst/>
                <a:rect l="l" t="t" r="r" b="b"/>
                <a:pathLst>
                  <a:path w="419100" h="228600" extrusionOk="0">
                    <a:moveTo>
                      <a:pt x="345216" y="5812"/>
                    </a:moveTo>
                    <a:lnTo>
                      <a:pt x="345216" y="9498"/>
                    </a:lnTo>
                    <a:lnTo>
                      <a:pt x="337838" y="16880"/>
                    </a:lnTo>
                    <a:lnTo>
                      <a:pt x="334149" y="16880"/>
                    </a:lnTo>
                    <a:lnTo>
                      <a:pt x="337838" y="24261"/>
                    </a:lnTo>
                    <a:lnTo>
                      <a:pt x="341527" y="24261"/>
                    </a:lnTo>
                    <a:lnTo>
                      <a:pt x="345216" y="31643"/>
                    </a:lnTo>
                    <a:lnTo>
                      <a:pt x="348905" y="39025"/>
                    </a:lnTo>
                    <a:lnTo>
                      <a:pt x="356284" y="39025"/>
                    </a:lnTo>
                    <a:lnTo>
                      <a:pt x="363662" y="39025"/>
                    </a:lnTo>
                    <a:lnTo>
                      <a:pt x="367351" y="39025"/>
                    </a:lnTo>
                    <a:lnTo>
                      <a:pt x="371040" y="39025"/>
                    </a:lnTo>
                    <a:lnTo>
                      <a:pt x="371040" y="35339"/>
                    </a:lnTo>
                    <a:lnTo>
                      <a:pt x="374730" y="35339"/>
                    </a:lnTo>
                    <a:lnTo>
                      <a:pt x="374730" y="39025"/>
                    </a:lnTo>
                    <a:lnTo>
                      <a:pt x="374730" y="42711"/>
                    </a:lnTo>
                    <a:lnTo>
                      <a:pt x="371040" y="46407"/>
                    </a:lnTo>
                    <a:lnTo>
                      <a:pt x="367351" y="46407"/>
                    </a:lnTo>
                    <a:lnTo>
                      <a:pt x="363662" y="46407"/>
                    </a:lnTo>
                    <a:lnTo>
                      <a:pt x="359973" y="46407"/>
                    </a:lnTo>
                    <a:lnTo>
                      <a:pt x="356284" y="46407"/>
                    </a:lnTo>
                    <a:lnTo>
                      <a:pt x="352594" y="46407"/>
                    </a:lnTo>
                    <a:lnTo>
                      <a:pt x="348905" y="50093"/>
                    </a:lnTo>
                    <a:lnTo>
                      <a:pt x="345216" y="50093"/>
                    </a:lnTo>
                    <a:lnTo>
                      <a:pt x="337838" y="42711"/>
                    </a:lnTo>
                    <a:lnTo>
                      <a:pt x="323081" y="39025"/>
                    </a:lnTo>
                    <a:lnTo>
                      <a:pt x="319392" y="39025"/>
                    </a:lnTo>
                    <a:lnTo>
                      <a:pt x="312014" y="42711"/>
                    </a:lnTo>
                    <a:lnTo>
                      <a:pt x="308325" y="46407"/>
                    </a:lnTo>
                    <a:lnTo>
                      <a:pt x="304635" y="46407"/>
                    </a:lnTo>
                    <a:lnTo>
                      <a:pt x="297257" y="50093"/>
                    </a:lnTo>
                    <a:lnTo>
                      <a:pt x="293568" y="53789"/>
                    </a:lnTo>
                    <a:lnTo>
                      <a:pt x="289879" y="50093"/>
                    </a:lnTo>
                    <a:lnTo>
                      <a:pt x="282500" y="53789"/>
                    </a:lnTo>
                    <a:lnTo>
                      <a:pt x="278811" y="57475"/>
                    </a:lnTo>
                    <a:lnTo>
                      <a:pt x="278811" y="64857"/>
                    </a:lnTo>
                    <a:lnTo>
                      <a:pt x="282500" y="64857"/>
                    </a:lnTo>
                    <a:lnTo>
                      <a:pt x="282500" y="68553"/>
                    </a:lnTo>
                    <a:lnTo>
                      <a:pt x="286190" y="68553"/>
                    </a:lnTo>
                    <a:lnTo>
                      <a:pt x="289879" y="68553"/>
                    </a:lnTo>
                    <a:lnTo>
                      <a:pt x="293568" y="72239"/>
                    </a:lnTo>
                    <a:lnTo>
                      <a:pt x="297257" y="75935"/>
                    </a:lnTo>
                    <a:lnTo>
                      <a:pt x="300946" y="75935"/>
                    </a:lnTo>
                    <a:lnTo>
                      <a:pt x="300946" y="79621"/>
                    </a:lnTo>
                    <a:lnTo>
                      <a:pt x="300946" y="83317"/>
                    </a:lnTo>
                    <a:lnTo>
                      <a:pt x="304635" y="87003"/>
                    </a:lnTo>
                    <a:lnTo>
                      <a:pt x="308325" y="87003"/>
                    </a:lnTo>
                    <a:lnTo>
                      <a:pt x="312014" y="90689"/>
                    </a:lnTo>
                    <a:lnTo>
                      <a:pt x="315703" y="94384"/>
                    </a:lnTo>
                    <a:lnTo>
                      <a:pt x="315703" y="101766"/>
                    </a:lnTo>
                    <a:lnTo>
                      <a:pt x="319392" y="105453"/>
                    </a:lnTo>
                    <a:lnTo>
                      <a:pt x="323081" y="105453"/>
                    </a:lnTo>
                    <a:lnTo>
                      <a:pt x="323081" y="109148"/>
                    </a:lnTo>
                    <a:lnTo>
                      <a:pt x="326770" y="109148"/>
                    </a:lnTo>
                    <a:lnTo>
                      <a:pt x="330460" y="109148"/>
                    </a:lnTo>
                    <a:lnTo>
                      <a:pt x="345216" y="109148"/>
                    </a:lnTo>
                    <a:lnTo>
                      <a:pt x="348905" y="109148"/>
                    </a:lnTo>
                    <a:lnTo>
                      <a:pt x="352594" y="109148"/>
                    </a:lnTo>
                    <a:lnTo>
                      <a:pt x="356284" y="112835"/>
                    </a:lnTo>
                    <a:lnTo>
                      <a:pt x="359973" y="112835"/>
                    </a:lnTo>
                    <a:lnTo>
                      <a:pt x="359973" y="109148"/>
                    </a:lnTo>
                    <a:lnTo>
                      <a:pt x="367351" y="112835"/>
                    </a:lnTo>
                    <a:lnTo>
                      <a:pt x="374730" y="116530"/>
                    </a:lnTo>
                    <a:lnTo>
                      <a:pt x="371040" y="120216"/>
                    </a:lnTo>
                    <a:lnTo>
                      <a:pt x="371040" y="123912"/>
                    </a:lnTo>
                    <a:lnTo>
                      <a:pt x="371040" y="127598"/>
                    </a:lnTo>
                    <a:lnTo>
                      <a:pt x="374730" y="127598"/>
                    </a:lnTo>
                    <a:lnTo>
                      <a:pt x="389487" y="134980"/>
                    </a:lnTo>
                    <a:lnTo>
                      <a:pt x="393176" y="138666"/>
                    </a:lnTo>
                    <a:lnTo>
                      <a:pt x="393176" y="160812"/>
                    </a:lnTo>
                    <a:lnTo>
                      <a:pt x="393176" y="164508"/>
                    </a:lnTo>
                    <a:lnTo>
                      <a:pt x="396865" y="179271"/>
                    </a:lnTo>
                    <a:lnTo>
                      <a:pt x="393176" y="179271"/>
                    </a:lnTo>
                    <a:lnTo>
                      <a:pt x="389487" y="179271"/>
                    </a:lnTo>
                    <a:lnTo>
                      <a:pt x="385798" y="179271"/>
                    </a:lnTo>
                    <a:lnTo>
                      <a:pt x="382109" y="175576"/>
                    </a:lnTo>
                    <a:lnTo>
                      <a:pt x="378419" y="175576"/>
                    </a:lnTo>
                    <a:lnTo>
                      <a:pt x="374730" y="175576"/>
                    </a:lnTo>
                    <a:lnTo>
                      <a:pt x="371040" y="175576"/>
                    </a:lnTo>
                    <a:lnTo>
                      <a:pt x="367351" y="179271"/>
                    </a:lnTo>
                    <a:lnTo>
                      <a:pt x="363662" y="179271"/>
                    </a:lnTo>
                    <a:lnTo>
                      <a:pt x="359973" y="182958"/>
                    </a:lnTo>
                    <a:lnTo>
                      <a:pt x="356284" y="182958"/>
                    </a:lnTo>
                    <a:lnTo>
                      <a:pt x="352594" y="182958"/>
                    </a:lnTo>
                    <a:lnTo>
                      <a:pt x="348905" y="182958"/>
                    </a:lnTo>
                    <a:lnTo>
                      <a:pt x="348905" y="179271"/>
                    </a:lnTo>
                    <a:lnTo>
                      <a:pt x="345216" y="179271"/>
                    </a:lnTo>
                    <a:lnTo>
                      <a:pt x="334149" y="171890"/>
                    </a:lnTo>
                    <a:lnTo>
                      <a:pt x="330460" y="171890"/>
                    </a:lnTo>
                    <a:lnTo>
                      <a:pt x="326770" y="160812"/>
                    </a:lnTo>
                    <a:lnTo>
                      <a:pt x="323081" y="160812"/>
                    </a:lnTo>
                    <a:lnTo>
                      <a:pt x="315703" y="149744"/>
                    </a:lnTo>
                    <a:lnTo>
                      <a:pt x="315703" y="146048"/>
                    </a:lnTo>
                    <a:lnTo>
                      <a:pt x="312014" y="142362"/>
                    </a:lnTo>
                    <a:lnTo>
                      <a:pt x="315703" y="138666"/>
                    </a:lnTo>
                    <a:lnTo>
                      <a:pt x="312014" y="134980"/>
                    </a:lnTo>
                    <a:lnTo>
                      <a:pt x="312014" y="131294"/>
                    </a:lnTo>
                    <a:lnTo>
                      <a:pt x="312014" y="127598"/>
                    </a:lnTo>
                    <a:lnTo>
                      <a:pt x="308325" y="127598"/>
                    </a:lnTo>
                    <a:lnTo>
                      <a:pt x="304635" y="123912"/>
                    </a:lnTo>
                    <a:lnTo>
                      <a:pt x="297257" y="116530"/>
                    </a:lnTo>
                    <a:lnTo>
                      <a:pt x="293568" y="112835"/>
                    </a:lnTo>
                    <a:lnTo>
                      <a:pt x="289879" y="112835"/>
                    </a:lnTo>
                    <a:lnTo>
                      <a:pt x="286190" y="112835"/>
                    </a:lnTo>
                    <a:lnTo>
                      <a:pt x="282500" y="109148"/>
                    </a:lnTo>
                    <a:lnTo>
                      <a:pt x="278811" y="109148"/>
                    </a:lnTo>
                    <a:lnTo>
                      <a:pt x="271433" y="105453"/>
                    </a:lnTo>
                    <a:lnTo>
                      <a:pt x="267744" y="105453"/>
                    </a:lnTo>
                    <a:lnTo>
                      <a:pt x="264055" y="101766"/>
                    </a:lnTo>
                    <a:lnTo>
                      <a:pt x="260365" y="105453"/>
                    </a:lnTo>
                    <a:lnTo>
                      <a:pt x="256676" y="105453"/>
                    </a:lnTo>
                    <a:lnTo>
                      <a:pt x="256676" y="109148"/>
                    </a:lnTo>
                    <a:lnTo>
                      <a:pt x="249298" y="98071"/>
                    </a:lnTo>
                    <a:lnTo>
                      <a:pt x="252987" y="98071"/>
                    </a:lnTo>
                    <a:lnTo>
                      <a:pt x="249298" y="94384"/>
                    </a:lnTo>
                    <a:lnTo>
                      <a:pt x="249298" y="90689"/>
                    </a:lnTo>
                    <a:lnTo>
                      <a:pt x="245609" y="90689"/>
                    </a:lnTo>
                    <a:lnTo>
                      <a:pt x="241920" y="90689"/>
                    </a:lnTo>
                    <a:lnTo>
                      <a:pt x="238231" y="90689"/>
                    </a:lnTo>
                    <a:lnTo>
                      <a:pt x="234541" y="94384"/>
                    </a:lnTo>
                    <a:lnTo>
                      <a:pt x="230852" y="94384"/>
                    </a:lnTo>
                    <a:lnTo>
                      <a:pt x="227162" y="94384"/>
                    </a:lnTo>
                    <a:lnTo>
                      <a:pt x="219784" y="94384"/>
                    </a:lnTo>
                    <a:lnTo>
                      <a:pt x="216095" y="94384"/>
                    </a:lnTo>
                    <a:lnTo>
                      <a:pt x="212405" y="94384"/>
                    </a:lnTo>
                    <a:lnTo>
                      <a:pt x="208716" y="94384"/>
                    </a:lnTo>
                    <a:lnTo>
                      <a:pt x="208716" y="90689"/>
                    </a:lnTo>
                    <a:lnTo>
                      <a:pt x="205027" y="87003"/>
                    </a:lnTo>
                    <a:lnTo>
                      <a:pt x="197649" y="87003"/>
                    </a:lnTo>
                    <a:lnTo>
                      <a:pt x="190270" y="90689"/>
                    </a:lnTo>
                    <a:lnTo>
                      <a:pt x="186581" y="90689"/>
                    </a:lnTo>
                    <a:lnTo>
                      <a:pt x="182892" y="94384"/>
                    </a:lnTo>
                    <a:lnTo>
                      <a:pt x="171825" y="90689"/>
                    </a:lnTo>
                    <a:lnTo>
                      <a:pt x="168136" y="90689"/>
                    </a:lnTo>
                    <a:lnTo>
                      <a:pt x="164446" y="87003"/>
                    </a:lnTo>
                    <a:lnTo>
                      <a:pt x="160757" y="90689"/>
                    </a:lnTo>
                    <a:lnTo>
                      <a:pt x="153379" y="94384"/>
                    </a:lnTo>
                    <a:lnTo>
                      <a:pt x="153379" y="98071"/>
                    </a:lnTo>
                    <a:lnTo>
                      <a:pt x="149690" y="101766"/>
                    </a:lnTo>
                    <a:lnTo>
                      <a:pt x="149690" y="105453"/>
                    </a:lnTo>
                    <a:lnTo>
                      <a:pt x="146001" y="109148"/>
                    </a:lnTo>
                    <a:lnTo>
                      <a:pt x="142311" y="109148"/>
                    </a:lnTo>
                    <a:lnTo>
                      <a:pt x="138622" y="112835"/>
                    </a:lnTo>
                    <a:lnTo>
                      <a:pt x="142311" y="112835"/>
                    </a:lnTo>
                    <a:lnTo>
                      <a:pt x="146001" y="112835"/>
                    </a:lnTo>
                    <a:lnTo>
                      <a:pt x="138622" y="116530"/>
                    </a:lnTo>
                    <a:lnTo>
                      <a:pt x="138622" y="112835"/>
                    </a:lnTo>
                    <a:lnTo>
                      <a:pt x="131244" y="105453"/>
                    </a:lnTo>
                    <a:lnTo>
                      <a:pt x="127555" y="101766"/>
                    </a:lnTo>
                    <a:lnTo>
                      <a:pt x="127555" y="98071"/>
                    </a:lnTo>
                    <a:lnTo>
                      <a:pt x="123866" y="87003"/>
                    </a:lnTo>
                    <a:lnTo>
                      <a:pt x="123866" y="83317"/>
                    </a:lnTo>
                    <a:lnTo>
                      <a:pt x="120176" y="83317"/>
                    </a:lnTo>
                    <a:lnTo>
                      <a:pt x="116487" y="79621"/>
                    </a:lnTo>
                    <a:lnTo>
                      <a:pt x="109109" y="75935"/>
                    </a:lnTo>
                    <a:lnTo>
                      <a:pt x="105420" y="72239"/>
                    </a:lnTo>
                    <a:lnTo>
                      <a:pt x="101731" y="68553"/>
                    </a:lnTo>
                    <a:lnTo>
                      <a:pt x="101731" y="64857"/>
                    </a:lnTo>
                    <a:lnTo>
                      <a:pt x="101731" y="57475"/>
                    </a:lnTo>
                    <a:lnTo>
                      <a:pt x="105420" y="53789"/>
                    </a:lnTo>
                    <a:lnTo>
                      <a:pt x="101731" y="53789"/>
                    </a:lnTo>
                    <a:lnTo>
                      <a:pt x="98041" y="53789"/>
                    </a:lnTo>
                    <a:lnTo>
                      <a:pt x="94352" y="50093"/>
                    </a:lnTo>
                    <a:lnTo>
                      <a:pt x="83284" y="50093"/>
                    </a:lnTo>
                    <a:lnTo>
                      <a:pt x="79595" y="50093"/>
                    </a:lnTo>
                    <a:lnTo>
                      <a:pt x="75906" y="50093"/>
                    </a:lnTo>
                    <a:lnTo>
                      <a:pt x="68527" y="50093"/>
                    </a:lnTo>
                    <a:lnTo>
                      <a:pt x="68527" y="53789"/>
                    </a:lnTo>
                    <a:lnTo>
                      <a:pt x="64838" y="53789"/>
                    </a:lnTo>
                    <a:lnTo>
                      <a:pt x="61149" y="53789"/>
                    </a:lnTo>
                    <a:lnTo>
                      <a:pt x="57460" y="57475"/>
                    </a:lnTo>
                    <a:lnTo>
                      <a:pt x="50081" y="61171"/>
                    </a:lnTo>
                    <a:lnTo>
                      <a:pt x="46393" y="64857"/>
                    </a:lnTo>
                    <a:lnTo>
                      <a:pt x="39014" y="68553"/>
                    </a:lnTo>
                    <a:lnTo>
                      <a:pt x="35325" y="68553"/>
                    </a:lnTo>
                    <a:lnTo>
                      <a:pt x="31636" y="72239"/>
                    </a:lnTo>
                    <a:lnTo>
                      <a:pt x="27947" y="75935"/>
                    </a:lnTo>
                    <a:lnTo>
                      <a:pt x="20568" y="79621"/>
                    </a:lnTo>
                    <a:lnTo>
                      <a:pt x="16879" y="83317"/>
                    </a:lnTo>
                    <a:lnTo>
                      <a:pt x="13190" y="83317"/>
                    </a:lnTo>
                    <a:lnTo>
                      <a:pt x="9501" y="87003"/>
                    </a:lnTo>
                    <a:lnTo>
                      <a:pt x="5812" y="90689"/>
                    </a:lnTo>
                    <a:lnTo>
                      <a:pt x="5812" y="94384"/>
                    </a:lnTo>
                    <a:lnTo>
                      <a:pt x="5812" y="98071"/>
                    </a:lnTo>
                    <a:lnTo>
                      <a:pt x="5812" y="101766"/>
                    </a:lnTo>
                    <a:lnTo>
                      <a:pt x="9501" y="109148"/>
                    </a:lnTo>
                    <a:lnTo>
                      <a:pt x="13190" y="109148"/>
                    </a:lnTo>
                    <a:lnTo>
                      <a:pt x="16879" y="112835"/>
                    </a:lnTo>
                    <a:lnTo>
                      <a:pt x="20568" y="116530"/>
                    </a:lnTo>
                    <a:lnTo>
                      <a:pt x="27947" y="120216"/>
                    </a:lnTo>
                    <a:lnTo>
                      <a:pt x="27947" y="123912"/>
                    </a:lnTo>
                    <a:lnTo>
                      <a:pt x="31636" y="123912"/>
                    </a:lnTo>
                    <a:lnTo>
                      <a:pt x="35325" y="127598"/>
                    </a:lnTo>
                    <a:lnTo>
                      <a:pt x="39014" y="131294"/>
                    </a:lnTo>
                    <a:lnTo>
                      <a:pt x="39014" y="134980"/>
                    </a:lnTo>
                    <a:lnTo>
                      <a:pt x="42703" y="138666"/>
                    </a:lnTo>
                    <a:lnTo>
                      <a:pt x="42703" y="142362"/>
                    </a:lnTo>
                    <a:lnTo>
                      <a:pt x="46393" y="146048"/>
                    </a:lnTo>
                    <a:lnTo>
                      <a:pt x="46393" y="149744"/>
                    </a:lnTo>
                    <a:lnTo>
                      <a:pt x="50081" y="153430"/>
                    </a:lnTo>
                    <a:lnTo>
                      <a:pt x="53771" y="157126"/>
                    </a:lnTo>
                    <a:lnTo>
                      <a:pt x="61149" y="160812"/>
                    </a:lnTo>
                    <a:lnTo>
                      <a:pt x="61149" y="164508"/>
                    </a:lnTo>
                    <a:lnTo>
                      <a:pt x="64838" y="164508"/>
                    </a:lnTo>
                    <a:lnTo>
                      <a:pt x="68527" y="168194"/>
                    </a:lnTo>
                    <a:lnTo>
                      <a:pt x="68527" y="171890"/>
                    </a:lnTo>
                    <a:lnTo>
                      <a:pt x="72216" y="171890"/>
                    </a:lnTo>
                    <a:lnTo>
                      <a:pt x="79595" y="171890"/>
                    </a:lnTo>
                    <a:lnTo>
                      <a:pt x="83284" y="171890"/>
                    </a:lnTo>
                    <a:lnTo>
                      <a:pt x="83284" y="168194"/>
                    </a:lnTo>
                    <a:lnTo>
                      <a:pt x="83284" y="160812"/>
                    </a:lnTo>
                    <a:lnTo>
                      <a:pt x="86974" y="160812"/>
                    </a:lnTo>
                    <a:lnTo>
                      <a:pt x="86974" y="168194"/>
                    </a:lnTo>
                    <a:lnTo>
                      <a:pt x="90663" y="171890"/>
                    </a:lnTo>
                    <a:lnTo>
                      <a:pt x="94352" y="171890"/>
                    </a:lnTo>
                    <a:lnTo>
                      <a:pt x="101731" y="171890"/>
                    </a:lnTo>
                    <a:lnTo>
                      <a:pt x="105420" y="168194"/>
                    </a:lnTo>
                    <a:lnTo>
                      <a:pt x="105420" y="164508"/>
                    </a:lnTo>
                    <a:lnTo>
                      <a:pt x="109109" y="164508"/>
                    </a:lnTo>
                    <a:lnTo>
                      <a:pt x="116487" y="164508"/>
                    </a:lnTo>
                    <a:lnTo>
                      <a:pt x="120176" y="164508"/>
                    </a:lnTo>
                    <a:lnTo>
                      <a:pt x="112798" y="160812"/>
                    </a:lnTo>
                    <a:lnTo>
                      <a:pt x="116487" y="157126"/>
                    </a:lnTo>
                    <a:lnTo>
                      <a:pt x="123866" y="153430"/>
                    </a:lnTo>
                    <a:lnTo>
                      <a:pt x="127555" y="153430"/>
                    </a:lnTo>
                    <a:lnTo>
                      <a:pt x="127555" y="157126"/>
                    </a:lnTo>
                    <a:lnTo>
                      <a:pt x="138622" y="149744"/>
                    </a:lnTo>
                    <a:lnTo>
                      <a:pt x="138622" y="146048"/>
                    </a:lnTo>
                    <a:lnTo>
                      <a:pt x="138622" y="142362"/>
                    </a:lnTo>
                    <a:lnTo>
                      <a:pt x="142311" y="146048"/>
                    </a:lnTo>
                    <a:lnTo>
                      <a:pt x="142311" y="149744"/>
                    </a:lnTo>
                    <a:lnTo>
                      <a:pt x="146001" y="149744"/>
                    </a:lnTo>
                    <a:lnTo>
                      <a:pt x="142311" y="153430"/>
                    </a:lnTo>
                    <a:lnTo>
                      <a:pt x="142311" y="160812"/>
                    </a:lnTo>
                    <a:lnTo>
                      <a:pt x="146001" y="160812"/>
                    </a:lnTo>
                    <a:lnTo>
                      <a:pt x="142311" y="164508"/>
                    </a:lnTo>
                    <a:lnTo>
                      <a:pt x="146001" y="168194"/>
                    </a:lnTo>
                    <a:lnTo>
                      <a:pt x="146001" y="171890"/>
                    </a:lnTo>
                    <a:lnTo>
                      <a:pt x="142311" y="168194"/>
                    </a:lnTo>
                    <a:lnTo>
                      <a:pt x="138622" y="171890"/>
                    </a:lnTo>
                    <a:lnTo>
                      <a:pt x="134933" y="171890"/>
                    </a:lnTo>
                    <a:lnTo>
                      <a:pt x="138622" y="175576"/>
                    </a:lnTo>
                    <a:lnTo>
                      <a:pt x="142311" y="179271"/>
                    </a:lnTo>
                    <a:lnTo>
                      <a:pt x="142311" y="182958"/>
                    </a:lnTo>
                    <a:lnTo>
                      <a:pt x="146001" y="182958"/>
                    </a:lnTo>
                    <a:lnTo>
                      <a:pt x="146001" y="190339"/>
                    </a:lnTo>
                    <a:lnTo>
                      <a:pt x="146001" y="194026"/>
                    </a:lnTo>
                    <a:lnTo>
                      <a:pt x="149690" y="194026"/>
                    </a:lnTo>
                    <a:lnTo>
                      <a:pt x="153379" y="197721"/>
                    </a:lnTo>
                    <a:lnTo>
                      <a:pt x="157068" y="197721"/>
                    </a:lnTo>
                    <a:lnTo>
                      <a:pt x="157068" y="194026"/>
                    </a:lnTo>
                    <a:lnTo>
                      <a:pt x="160757" y="194026"/>
                    </a:lnTo>
                    <a:lnTo>
                      <a:pt x="168136" y="197721"/>
                    </a:lnTo>
                    <a:lnTo>
                      <a:pt x="171825" y="197721"/>
                    </a:lnTo>
                    <a:lnTo>
                      <a:pt x="171825" y="201407"/>
                    </a:lnTo>
                    <a:lnTo>
                      <a:pt x="179203" y="205103"/>
                    </a:lnTo>
                    <a:lnTo>
                      <a:pt x="179203" y="208789"/>
                    </a:lnTo>
                    <a:lnTo>
                      <a:pt x="182892" y="208789"/>
                    </a:lnTo>
                    <a:lnTo>
                      <a:pt x="190270" y="216171"/>
                    </a:lnTo>
                    <a:lnTo>
                      <a:pt x="193960" y="216171"/>
                    </a:lnTo>
                    <a:lnTo>
                      <a:pt x="201338" y="216171"/>
                    </a:lnTo>
                    <a:lnTo>
                      <a:pt x="208716" y="212485"/>
                    </a:lnTo>
                    <a:lnTo>
                      <a:pt x="212405" y="212485"/>
                    </a:lnTo>
                    <a:lnTo>
                      <a:pt x="216095" y="208789"/>
                    </a:lnTo>
                    <a:lnTo>
                      <a:pt x="223473" y="208789"/>
                    </a:lnTo>
                    <a:lnTo>
                      <a:pt x="227162" y="208789"/>
                    </a:lnTo>
                    <a:lnTo>
                      <a:pt x="230852" y="212485"/>
                    </a:lnTo>
                    <a:lnTo>
                      <a:pt x="234541" y="208789"/>
                    </a:lnTo>
                    <a:lnTo>
                      <a:pt x="238231" y="194026"/>
                    </a:lnTo>
                    <a:lnTo>
                      <a:pt x="241920" y="194026"/>
                    </a:lnTo>
                    <a:lnTo>
                      <a:pt x="241920" y="190339"/>
                    </a:lnTo>
                    <a:lnTo>
                      <a:pt x="241920" y="186644"/>
                    </a:lnTo>
                    <a:lnTo>
                      <a:pt x="245609" y="186644"/>
                    </a:lnTo>
                    <a:lnTo>
                      <a:pt x="245609" y="179271"/>
                    </a:lnTo>
                    <a:lnTo>
                      <a:pt x="245609" y="175576"/>
                    </a:lnTo>
                    <a:lnTo>
                      <a:pt x="245609" y="171890"/>
                    </a:lnTo>
                    <a:lnTo>
                      <a:pt x="245609" y="168194"/>
                    </a:lnTo>
                    <a:lnTo>
                      <a:pt x="245609" y="164508"/>
                    </a:lnTo>
                    <a:lnTo>
                      <a:pt x="252987" y="168194"/>
                    </a:lnTo>
                    <a:lnTo>
                      <a:pt x="260365" y="164508"/>
                    </a:lnTo>
                    <a:lnTo>
                      <a:pt x="264055" y="164508"/>
                    </a:lnTo>
                    <a:lnTo>
                      <a:pt x="271433" y="157126"/>
                    </a:lnTo>
                    <a:lnTo>
                      <a:pt x="275122" y="160812"/>
                    </a:lnTo>
                    <a:lnTo>
                      <a:pt x="278811" y="164508"/>
                    </a:lnTo>
                    <a:lnTo>
                      <a:pt x="282500" y="168194"/>
                    </a:lnTo>
                    <a:lnTo>
                      <a:pt x="282500" y="171890"/>
                    </a:lnTo>
                    <a:lnTo>
                      <a:pt x="286190" y="171890"/>
                    </a:lnTo>
                    <a:lnTo>
                      <a:pt x="286190" y="175576"/>
                    </a:lnTo>
                    <a:lnTo>
                      <a:pt x="289879" y="175576"/>
                    </a:lnTo>
                    <a:lnTo>
                      <a:pt x="293568" y="175576"/>
                    </a:lnTo>
                    <a:lnTo>
                      <a:pt x="297257" y="179271"/>
                    </a:lnTo>
                    <a:lnTo>
                      <a:pt x="300946" y="182958"/>
                    </a:lnTo>
                    <a:lnTo>
                      <a:pt x="308325" y="182958"/>
                    </a:lnTo>
                    <a:lnTo>
                      <a:pt x="308325" y="186644"/>
                    </a:lnTo>
                    <a:lnTo>
                      <a:pt x="308325" y="194026"/>
                    </a:lnTo>
                    <a:lnTo>
                      <a:pt x="315703" y="197721"/>
                    </a:lnTo>
                    <a:lnTo>
                      <a:pt x="319392" y="197721"/>
                    </a:lnTo>
                    <a:lnTo>
                      <a:pt x="323081" y="201407"/>
                    </a:lnTo>
                    <a:lnTo>
                      <a:pt x="326770" y="201407"/>
                    </a:lnTo>
                    <a:lnTo>
                      <a:pt x="334149" y="205103"/>
                    </a:lnTo>
                    <a:lnTo>
                      <a:pt x="341527" y="208789"/>
                    </a:lnTo>
                    <a:lnTo>
                      <a:pt x="348905" y="208789"/>
                    </a:lnTo>
                    <a:lnTo>
                      <a:pt x="352594" y="212485"/>
                    </a:lnTo>
                    <a:lnTo>
                      <a:pt x="359973" y="212485"/>
                    </a:lnTo>
                    <a:lnTo>
                      <a:pt x="371040" y="208789"/>
                    </a:lnTo>
                    <a:lnTo>
                      <a:pt x="378419" y="205103"/>
                    </a:lnTo>
                    <a:lnTo>
                      <a:pt x="382109" y="205103"/>
                    </a:lnTo>
                    <a:lnTo>
                      <a:pt x="385798" y="205103"/>
                    </a:lnTo>
                    <a:lnTo>
                      <a:pt x="385798" y="208789"/>
                    </a:lnTo>
                    <a:lnTo>
                      <a:pt x="389487" y="208789"/>
                    </a:lnTo>
                    <a:lnTo>
                      <a:pt x="393176" y="208789"/>
                    </a:lnTo>
                    <a:lnTo>
                      <a:pt x="400555" y="212485"/>
                    </a:lnTo>
                    <a:lnTo>
                      <a:pt x="404244" y="223553"/>
                    </a:lnTo>
                    <a:lnTo>
                      <a:pt x="404244" y="230935"/>
                    </a:lnTo>
                    <a:lnTo>
                      <a:pt x="415311" y="230935"/>
                    </a:lnTo>
                    <a:lnTo>
                      <a:pt x="422690" y="227249"/>
                    </a:lnTo>
                    <a:lnTo>
                      <a:pt x="419000" y="223553"/>
                    </a:lnTo>
                    <a:lnTo>
                      <a:pt x="415311" y="223553"/>
                    </a:lnTo>
                    <a:lnTo>
                      <a:pt x="415311" y="219867"/>
                    </a:lnTo>
                    <a:lnTo>
                      <a:pt x="419000" y="208789"/>
                    </a:lnTo>
                    <a:lnTo>
                      <a:pt x="415311" y="197721"/>
                    </a:lnTo>
                    <a:lnTo>
                      <a:pt x="415311" y="194026"/>
                    </a:lnTo>
                    <a:lnTo>
                      <a:pt x="422690" y="190339"/>
                    </a:lnTo>
                    <a:lnTo>
                      <a:pt x="415311" y="179271"/>
                    </a:lnTo>
                    <a:lnTo>
                      <a:pt x="400555" y="138666"/>
                    </a:lnTo>
                    <a:lnTo>
                      <a:pt x="393176" y="123912"/>
                    </a:lnTo>
                    <a:lnTo>
                      <a:pt x="393176" y="120216"/>
                    </a:lnTo>
                    <a:lnTo>
                      <a:pt x="396865" y="112835"/>
                    </a:lnTo>
                    <a:lnTo>
                      <a:pt x="400555" y="101766"/>
                    </a:lnTo>
                    <a:lnTo>
                      <a:pt x="404244" y="94384"/>
                    </a:lnTo>
                    <a:lnTo>
                      <a:pt x="404244" y="90689"/>
                    </a:lnTo>
                    <a:lnTo>
                      <a:pt x="400555" y="87003"/>
                    </a:lnTo>
                    <a:lnTo>
                      <a:pt x="400555" y="79621"/>
                    </a:lnTo>
                    <a:lnTo>
                      <a:pt x="385798" y="61171"/>
                    </a:lnTo>
                    <a:lnTo>
                      <a:pt x="382109" y="57475"/>
                    </a:lnTo>
                    <a:lnTo>
                      <a:pt x="382109" y="53789"/>
                    </a:lnTo>
                    <a:lnTo>
                      <a:pt x="382109" y="46407"/>
                    </a:lnTo>
                    <a:lnTo>
                      <a:pt x="382109" y="42711"/>
                    </a:lnTo>
                    <a:lnTo>
                      <a:pt x="385798" y="35339"/>
                    </a:lnTo>
                    <a:lnTo>
                      <a:pt x="389487" y="31643"/>
                    </a:lnTo>
                    <a:lnTo>
                      <a:pt x="393176" y="27957"/>
                    </a:lnTo>
                    <a:lnTo>
                      <a:pt x="404244" y="24261"/>
                    </a:lnTo>
                    <a:lnTo>
                      <a:pt x="400555" y="24261"/>
                    </a:lnTo>
                    <a:lnTo>
                      <a:pt x="393176" y="20575"/>
                    </a:lnTo>
                    <a:lnTo>
                      <a:pt x="385798" y="20575"/>
                    </a:lnTo>
                    <a:lnTo>
                      <a:pt x="382109" y="20575"/>
                    </a:lnTo>
                    <a:lnTo>
                      <a:pt x="378419" y="20575"/>
                    </a:lnTo>
                    <a:lnTo>
                      <a:pt x="371040" y="16880"/>
                    </a:lnTo>
                    <a:lnTo>
                      <a:pt x="359973" y="9498"/>
                    </a:lnTo>
                    <a:lnTo>
                      <a:pt x="356284" y="9498"/>
                    </a:lnTo>
                    <a:lnTo>
                      <a:pt x="345216" y="5812"/>
                    </a:lnTo>
                    <a:close/>
                    <a:moveTo>
                      <a:pt x="134933" y="171890"/>
                    </a:moveTo>
                    <a:lnTo>
                      <a:pt x="138622" y="164508"/>
                    </a:lnTo>
                    <a:lnTo>
                      <a:pt x="134933" y="168194"/>
                    </a:lnTo>
                    <a:lnTo>
                      <a:pt x="134933" y="171890"/>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37" name="Google Shape;434;p2">
                <a:extLst>
                  <a:ext uri="{FF2B5EF4-FFF2-40B4-BE49-F238E27FC236}">
                    <a16:creationId xmlns:a16="http://schemas.microsoft.com/office/drawing/2014/main" id="{DC17B7CF-5064-41BF-9B73-6C20E34CBEA0}"/>
                  </a:ext>
                </a:extLst>
              </p:cNvPr>
              <p:cNvSpPr/>
              <p:nvPr/>
            </p:nvSpPr>
            <p:spPr>
              <a:xfrm>
                <a:off x="1949468" y="5022874"/>
                <a:ext cx="43320" cy="43320"/>
              </a:xfrm>
              <a:custGeom>
                <a:avLst/>
                <a:gdLst/>
                <a:ahLst/>
                <a:cxnLst/>
                <a:rect l="l" t="t" r="r" b="b"/>
                <a:pathLst>
                  <a:path w="19050" h="19050" extrusionOk="0">
                    <a:moveTo>
                      <a:pt x="13190" y="5812"/>
                    </a:moveTo>
                    <a:lnTo>
                      <a:pt x="13190" y="9507"/>
                    </a:lnTo>
                    <a:lnTo>
                      <a:pt x="16879" y="9507"/>
                    </a:lnTo>
                    <a:lnTo>
                      <a:pt x="16879" y="13193"/>
                    </a:lnTo>
                    <a:lnTo>
                      <a:pt x="13190" y="13193"/>
                    </a:lnTo>
                    <a:lnTo>
                      <a:pt x="13190" y="16889"/>
                    </a:lnTo>
                    <a:lnTo>
                      <a:pt x="16879" y="16889"/>
                    </a:lnTo>
                    <a:lnTo>
                      <a:pt x="13190" y="16889"/>
                    </a:lnTo>
                    <a:lnTo>
                      <a:pt x="9501" y="16889"/>
                    </a:lnTo>
                    <a:lnTo>
                      <a:pt x="5812" y="13193"/>
                    </a:lnTo>
                    <a:lnTo>
                      <a:pt x="5812" y="9507"/>
                    </a:lnTo>
                    <a:lnTo>
                      <a:pt x="5812" y="5812"/>
                    </a:lnTo>
                    <a:lnTo>
                      <a:pt x="5812" y="5812"/>
                    </a:lnTo>
                    <a:lnTo>
                      <a:pt x="5812" y="5812"/>
                    </a:lnTo>
                    <a:lnTo>
                      <a:pt x="9501" y="5812"/>
                    </a:lnTo>
                    <a:lnTo>
                      <a:pt x="13190"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38" name="Google Shape;435;p2">
                <a:extLst>
                  <a:ext uri="{FF2B5EF4-FFF2-40B4-BE49-F238E27FC236}">
                    <a16:creationId xmlns:a16="http://schemas.microsoft.com/office/drawing/2014/main" id="{8296F9F7-B5D1-43BD-A272-B91B66AAA90C}"/>
                  </a:ext>
                </a:extLst>
              </p:cNvPr>
              <p:cNvSpPr/>
              <p:nvPr/>
            </p:nvSpPr>
            <p:spPr>
              <a:xfrm>
                <a:off x="1706183" y="5014492"/>
                <a:ext cx="21660" cy="21660"/>
              </a:xfrm>
              <a:custGeom>
                <a:avLst/>
                <a:gdLst/>
                <a:ahLst/>
                <a:cxnLst/>
                <a:rect l="l" t="t" r="r" b="b"/>
                <a:pathLst>
                  <a:path w="9525" h="9525" extrusionOk="0">
                    <a:moveTo>
                      <a:pt x="5812" y="9498"/>
                    </a:moveTo>
                    <a:lnTo>
                      <a:pt x="9501" y="9498"/>
                    </a:lnTo>
                    <a:lnTo>
                      <a:pt x="13190" y="5812"/>
                    </a:lnTo>
                    <a:lnTo>
                      <a:pt x="13190" y="9498"/>
                    </a:lnTo>
                    <a:lnTo>
                      <a:pt x="13190" y="9498"/>
                    </a:lnTo>
                    <a:lnTo>
                      <a:pt x="13190" y="9498"/>
                    </a:lnTo>
                    <a:lnTo>
                      <a:pt x="5812" y="9498"/>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39" name="Google Shape;436;p2">
                <a:extLst>
                  <a:ext uri="{FF2B5EF4-FFF2-40B4-BE49-F238E27FC236}">
                    <a16:creationId xmlns:a16="http://schemas.microsoft.com/office/drawing/2014/main" id="{8F274015-49C7-4418-8626-37A5C918F9D8}"/>
                  </a:ext>
                </a:extLst>
              </p:cNvPr>
              <p:cNvSpPr/>
              <p:nvPr/>
            </p:nvSpPr>
            <p:spPr>
              <a:xfrm>
                <a:off x="1899133" y="5031279"/>
                <a:ext cx="64980" cy="43320"/>
              </a:xfrm>
              <a:custGeom>
                <a:avLst/>
                <a:gdLst/>
                <a:ahLst/>
                <a:cxnLst/>
                <a:rect l="l" t="t" r="r" b="b"/>
                <a:pathLst>
                  <a:path w="28575" h="19050" extrusionOk="0">
                    <a:moveTo>
                      <a:pt x="24258" y="13193"/>
                    </a:moveTo>
                    <a:lnTo>
                      <a:pt x="24258" y="13193"/>
                    </a:lnTo>
                    <a:lnTo>
                      <a:pt x="24258" y="16880"/>
                    </a:lnTo>
                    <a:lnTo>
                      <a:pt x="24258" y="16880"/>
                    </a:lnTo>
                    <a:lnTo>
                      <a:pt x="24258" y="20575"/>
                    </a:lnTo>
                    <a:lnTo>
                      <a:pt x="24258" y="20575"/>
                    </a:lnTo>
                    <a:lnTo>
                      <a:pt x="20568" y="20575"/>
                    </a:lnTo>
                    <a:lnTo>
                      <a:pt x="20568" y="20575"/>
                    </a:lnTo>
                    <a:lnTo>
                      <a:pt x="16879" y="20575"/>
                    </a:lnTo>
                    <a:lnTo>
                      <a:pt x="16879" y="16880"/>
                    </a:lnTo>
                    <a:lnTo>
                      <a:pt x="13190" y="16880"/>
                    </a:lnTo>
                    <a:lnTo>
                      <a:pt x="13190" y="16880"/>
                    </a:lnTo>
                    <a:lnTo>
                      <a:pt x="16879" y="16880"/>
                    </a:lnTo>
                    <a:lnTo>
                      <a:pt x="20568" y="16880"/>
                    </a:lnTo>
                    <a:lnTo>
                      <a:pt x="16879" y="13193"/>
                    </a:lnTo>
                    <a:lnTo>
                      <a:pt x="20568" y="13193"/>
                    </a:lnTo>
                    <a:lnTo>
                      <a:pt x="20568" y="13193"/>
                    </a:lnTo>
                    <a:lnTo>
                      <a:pt x="16879" y="13193"/>
                    </a:lnTo>
                    <a:lnTo>
                      <a:pt x="13190" y="16880"/>
                    </a:lnTo>
                    <a:lnTo>
                      <a:pt x="13190" y="13193"/>
                    </a:lnTo>
                    <a:lnTo>
                      <a:pt x="13190" y="13193"/>
                    </a:lnTo>
                    <a:lnTo>
                      <a:pt x="16879" y="13193"/>
                    </a:lnTo>
                    <a:lnTo>
                      <a:pt x="16879" y="13193"/>
                    </a:lnTo>
                    <a:lnTo>
                      <a:pt x="13190" y="13193"/>
                    </a:lnTo>
                    <a:lnTo>
                      <a:pt x="16879" y="9498"/>
                    </a:lnTo>
                    <a:lnTo>
                      <a:pt x="16879" y="9498"/>
                    </a:lnTo>
                    <a:lnTo>
                      <a:pt x="13190" y="9498"/>
                    </a:lnTo>
                    <a:lnTo>
                      <a:pt x="13190" y="9498"/>
                    </a:lnTo>
                    <a:lnTo>
                      <a:pt x="9501" y="9498"/>
                    </a:lnTo>
                    <a:lnTo>
                      <a:pt x="9501" y="9498"/>
                    </a:lnTo>
                    <a:lnTo>
                      <a:pt x="9501" y="5812"/>
                    </a:lnTo>
                    <a:lnTo>
                      <a:pt x="9501" y="9498"/>
                    </a:lnTo>
                    <a:lnTo>
                      <a:pt x="5812" y="9498"/>
                    </a:lnTo>
                    <a:lnTo>
                      <a:pt x="5812" y="5812"/>
                    </a:lnTo>
                    <a:lnTo>
                      <a:pt x="13190" y="5812"/>
                    </a:lnTo>
                    <a:lnTo>
                      <a:pt x="16879" y="5812"/>
                    </a:lnTo>
                    <a:lnTo>
                      <a:pt x="16879" y="5812"/>
                    </a:lnTo>
                    <a:lnTo>
                      <a:pt x="20568" y="9498"/>
                    </a:lnTo>
                    <a:lnTo>
                      <a:pt x="20568" y="9498"/>
                    </a:lnTo>
                    <a:lnTo>
                      <a:pt x="24258" y="13193"/>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40" name="Google Shape;437;p2">
                <a:extLst>
                  <a:ext uri="{FF2B5EF4-FFF2-40B4-BE49-F238E27FC236}">
                    <a16:creationId xmlns:a16="http://schemas.microsoft.com/office/drawing/2014/main" id="{BA20D57E-58B4-4181-8FEE-565C07621D17}"/>
                  </a:ext>
                </a:extLst>
              </p:cNvPr>
              <p:cNvSpPr/>
              <p:nvPr/>
            </p:nvSpPr>
            <p:spPr>
              <a:xfrm>
                <a:off x="1043430" y="4938961"/>
                <a:ext cx="1018018" cy="389880"/>
              </a:xfrm>
              <a:custGeom>
                <a:avLst/>
                <a:gdLst/>
                <a:ahLst/>
                <a:cxnLst/>
                <a:rect l="l" t="t" r="r" b="b"/>
                <a:pathLst>
                  <a:path w="447675" h="171450" extrusionOk="0">
                    <a:moveTo>
                      <a:pt x="79595" y="5812"/>
                    </a:moveTo>
                    <a:lnTo>
                      <a:pt x="79595" y="9498"/>
                    </a:lnTo>
                    <a:lnTo>
                      <a:pt x="75906" y="9498"/>
                    </a:lnTo>
                    <a:lnTo>
                      <a:pt x="72217" y="9498"/>
                    </a:lnTo>
                    <a:lnTo>
                      <a:pt x="64839" y="13194"/>
                    </a:lnTo>
                    <a:lnTo>
                      <a:pt x="61149" y="13194"/>
                    </a:lnTo>
                    <a:lnTo>
                      <a:pt x="57460" y="13194"/>
                    </a:lnTo>
                    <a:lnTo>
                      <a:pt x="53771" y="16880"/>
                    </a:lnTo>
                    <a:lnTo>
                      <a:pt x="50082" y="16880"/>
                    </a:lnTo>
                    <a:lnTo>
                      <a:pt x="46393" y="16880"/>
                    </a:lnTo>
                    <a:lnTo>
                      <a:pt x="42703" y="16880"/>
                    </a:lnTo>
                    <a:lnTo>
                      <a:pt x="39014" y="16880"/>
                    </a:lnTo>
                    <a:lnTo>
                      <a:pt x="35325" y="16880"/>
                    </a:lnTo>
                    <a:lnTo>
                      <a:pt x="35325" y="20575"/>
                    </a:lnTo>
                    <a:lnTo>
                      <a:pt x="31636" y="20575"/>
                    </a:lnTo>
                    <a:lnTo>
                      <a:pt x="27947" y="24262"/>
                    </a:lnTo>
                    <a:lnTo>
                      <a:pt x="24258" y="24262"/>
                    </a:lnTo>
                    <a:lnTo>
                      <a:pt x="20568" y="24262"/>
                    </a:lnTo>
                    <a:lnTo>
                      <a:pt x="16879" y="27957"/>
                    </a:lnTo>
                    <a:lnTo>
                      <a:pt x="13190" y="27957"/>
                    </a:lnTo>
                    <a:lnTo>
                      <a:pt x="13190" y="31643"/>
                    </a:lnTo>
                    <a:lnTo>
                      <a:pt x="16879" y="35339"/>
                    </a:lnTo>
                    <a:lnTo>
                      <a:pt x="16879" y="42711"/>
                    </a:lnTo>
                    <a:lnTo>
                      <a:pt x="16879" y="46407"/>
                    </a:lnTo>
                    <a:lnTo>
                      <a:pt x="16879" y="50093"/>
                    </a:lnTo>
                    <a:lnTo>
                      <a:pt x="20568" y="53789"/>
                    </a:lnTo>
                    <a:lnTo>
                      <a:pt x="20568" y="61171"/>
                    </a:lnTo>
                    <a:lnTo>
                      <a:pt x="9501" y="72239"/>
                    </a:lnTo>
                    <a:lnTo>
                      <a:pt x="5812" y="75935"/>
                    </a:lnTo>
                    <a:lnTo>
                      <a:pt x="9501" y="79621"/>
                    </a:lnTo>
                    <a:lnTo>
                      <a:pt x="16879" y="87003"/>
                    </a:lnTo>
                    <a:lnTo>
                      <a:pt x="13190" y="87003"/>
                    </a:lnTo>
                    <a:lnTo>
                      <a:pt x="9501" y="87003"/>
                    </a:lnTo>
                    <a:lnTo>
                      <a:pt x="9501" y="90689"/>
                    </a:lnTo>
                    <a:lnTo>
                      <a:pt x="13190" y="94385"/>
                    </a:lnTo>
                    <a:lnTo>
                      <a:pt x="16879" y="98071"/>
                    </a:lnTo>
                    <a:lnTo>
                      <a:pt x="16879" y="101766"/>
                    </a:lnTo>
                    <a:lnTo>
                      <a:pt x="13190" y="105453"/>
                    </a:lnTo>
                    <a:lnTo>
                      <a:pt x="16879" y="109148"/>
                    </a:lnTo>
                    <a:lnTo>
                      <a:pt x="20568" y="109148"/>
                    </a:lnTo>
                    <a:lnTo>
                      <a:pt x="24258" y="116530"/>
                    </a:lnTo>
                    <a:lnTo>
                      <a:pt x="27947" y="116530"/>
                    </a:lnTo>
                    <a:lnTo>
                      <a:pt x="31636" y="123912"/>
                    </a:lnTo>
                    <a:lnTo>
                      <a:pt x="35325" y="120216"/>
                    </a:lnTo>
                    <a:lnTo>
                      <a:pt x="39014" y="123912"/>
                    </a:lnTo>
                    <a:lnTo>
                      <a:pt x="39014" y="127598"/>
                    </a:lnTo>
                    <a:lnTo>
                      <a:pt x="39014" y="131294"/>
                    </a:lnTo>
                    <a:lnTo>
                      <a:pt x="42703" y="131294"/>
                    </a:lnTo>
                    <a:lnTo>
                      <a:pt x="46393" y="134980"/>
                    </a:lnTo>
                    <a:lnTo>
                      <a:pt x="50082" y="134980"/>
                    </a:lnTo>
                    <a:lnTo>
                      <a:pt x="61149" y="134980"/>
                    </a:lnTo>
                    <a:lnTo>
                      <a:pt x="90663" y="131294"/>
                    </a:lnTo>
                    <a:lnTo>
                      <a:pt x="86974" y="105453"/>
                    </a:lnTo>
                    <a:lnTo>
                      <a:pt x="83284" y="101766"/>
                    </a:lnTo>
                    <a:lnTo>
                      <a:pt x="90663" y="98071"/>
                    </a:lnTo>
                    <a:lnTo>
                      <a:pt x="94352" y="101766"/>
                    </a:lnTo>
                    <a:lnTo>
                      <a:pt x="98042" y="101766"/>
                    </a:lnTo>
                    <a:lnTo>
                      <a:pt x="98042" y="98071"/>
                    </a:lnTo>
                    <a:lnTo>
                      <a:pt x="101731" y="98071"/>
                    </a:lnTo>
                    <a:lnTo>
                      <a:pt x="105420" y="98071"/>
                    </a:lnTo>
                    <a:lnTo>
                      <a:pt x="105420" y="94385"/>
                    </a:lnTo>
                    <a:lnTo>
                      <a:pt x="109109" y="94385"/>
                    </a:lnTo>
                    <a:lnTo>
                      <a:pt x="112798" y="98071"/>
                    </a:lnTo>
                    <a:lnTo>
                      <a:pt x="116487" y="101766"/>
                    </a:lnTo>
                    <a:lnTo>
                      <a:pt x="120177" y="98071"/>
                    </a:lnTo>
                    <a:lnTo>
                      <a:pt x="116487" y="90689"/>
                    </a:lnTo>
                    <a:lnTo>
                      <a:pt x="123866" y="87003"/>
                    </a:lnTo>
                    <a:lnTo>
                      <a:pt x="127555" y="90689"/>
                    </a:lnTo>
                    <a:lnTo>
                      <a:pt x="134933" y="94385"/>
                    </a:lnTo>
                    <a:lnTo>
                      <a:pt x="138622" y="98071"/>
                    </a:lnTo>
                    <a:lnTo>
                      <a:pt x="146001" y="101766"/>
                    </a:lnTo>
                    <a:lnTo>
                      <a:pt x="149690" y="101766"/>
                    </a:lnTo>
                    <a:lnTo>
                      <a:pt x="149690" y="98071"/>
                    </a:lnTo>
                    <a:lnTo>
                      <a:pt x="157068" y="98071"/>
                    </a:lnTo>
                    <a:lnTo>
                      <a:pt x="164446" y="105453"/>
                    </a:lnTo>
                    <a:lnTo>
                      <a:pt x="168136" y="105453"/>
                    </a:lnTo>
                    <a:lnTo>
                      <a:pt x="171825" y="109148"/>
                    </a:lnTo>
                    <a:lnTo>
                      <a:pt x="171825" y="112835"/>
                    </a:lnTo>
                    <a:lnTo>
                      <a:pt x="182892" y="112835"/>
                    </a:lnTo>
                    <a:lnTo>
                      <a:pt x="186581" y="116530"/>
                    </a:lnTo>
                    <a:lnTo>
                      <a:pt x="186581" y="112835"/>
                    </a:lnTo>
                    <a:lnTo>
                      <a:pt x="201338" y="116530"/>
                    </a:lnTo>
                    <a:lnTo>
                      <a:pt x="205027" y="116530"/>
                    </a:lnTo>
                    <a:lnTo>
                      <a:pt x="208716" y="123912"/>
                    </a:lnTo>
                    <a:lnTo>
                      <a:pt x="212406" y="123912"/>
                    </a:lnTo>
                    <a:lnTo>
                      <a:pt x="212406" y="120216"/>
                    </a:lnTo>
                    <a:lnTo>
                      <a:pt x="216095" y="123912"/>
                    </a:lnTo>
                    <a:lnTo>
                      <a:pt x="219784" y="127598"/>
                    </a:lnTo>
                    <a:lnTo>
                      <a:pt x="223473" y="127598"/>
                    </a:lnTo>
                    <a:lnTo>
                      <a:pt x="223473" y="131294"/>
                    </a:lnTo>
                    <a:lnTo>
                      <a:pt x="219784" y="134980"/>
                    </a:lnTo>
                    <a:lnTo>
                      <a:pt x="219784" y="142362"/>
                    </a:lnTo>
                    <a:lnTo>
                      <a:pt x="219784" y="153430"/>
                    </a:lnTo>
                    <a:lnTo>
                      <a:pt x="219784" y="160812"/>
                    </a:lnTo>
                    <a:lnTo>
                      <a:pt x="223473" y="164508"/>
                    </a:lnTo>
                    <a:lnTo>
                      <a:pt x="227162" y="164508"/>
                    </a:lnTo>
                    <a:lnTo>
                      <a:pt x="227162" y="160812"/>
                    </a:lnTo>
                    <a:lnTo>
                      <a:pt x="230852" y="164508"/>
                    </a:lnTo>
                    <a:lnTo>
                      <a:pt x="234541" y="164508"/>
                    </a:lnTo>
                    <a:lnTo>
                      <a:pt x="238231" y="164508"/>
                    </a:lnTo>
                    <a:lnTo>
                      <a:pt x="241920" y="164508"/>
                    </a:lnTo>
                    <a:lnTo>
                      <a:pt x="245609" y="164508"/>
                    </a:lnTo>
                    <a:lnTo>
                      <a:pt x="249298" y="164508"/>
                    </a:lnTo>
                    <a:lnTo>
                      <a:pt x="252987" y="164508"/>
                    </a:lnTo>
                    <a:lnTo>
                      <a:pt x="256676" y="164508"/>
                    </a:lnTo>
                    <a:lnTo>
                      <a:pt x="264055" y="157126"/>
                    </a:lnTo>
                    <a:lnTo>
                      <a:pt x="267744" y="157126"/>
                    </a:lnTo>
                    <a:lnTo>
                      <a:pt x="271433" y="157126"/>
                    </a:lnTo>
                    <a:lnTo>
                      <a:pt x="271433" y="164508"/>
                    </a:lnTo>
                    <a:lnTo>
                      <a:pt x="267744" y="164508"/>
                    </a:lnTo>
                    <a:lnTo>
                      <a:pt x="264055" y="168194"/>
                    </a:lnTo>
                    <a:lnTo>
                      <a:pt x="267744" y="171890"/>
                    </a:lnTo>
                    <a:lnTo>
                      <a:pt x="271433" y="171890"/>
                    </a:lnTo>
                    <a:lnTo>
                      <a:pt x="275122" y="171890"/>
                    </a:lnTo>
                    <a:lnTo>
                      <a:pt x="282501" y="168194"/>
                    </a:lnTo>
                    <a:lnTo>
                      <a:pt x="286190" y="168194"/>
                    </a:lnTo>
                    <a:lnTo>
                      <a:pt x="282501" y="160812"/>
                    </a:lnTo>
                    <a:lnTo>
                      <a:pt x="289879" y="157126"/>
                    </a:lnTo>
                    <a:lnTo>
                      <a:pt x="293568" y="164508"/>
                    </a:lnTo>
                    <a:lnTo>
                      <a:pt x="297257" y="164508"/>
                    </a:lnTo>
                    <a:lnTo>
                      <a:pt x="297257" y="160812"/>
                    </a:lnTo>
                    <a:lnTo>
                      <a:pt x="300946" y="160812"/>
                    </a:lnTo>
                    <a:lnTo>
                      <a:pt x="304635" y="160812"/>
                    </a:lnTo>
                    <a:lnTo>
                      <a:pt x="308325" y="157126"/>
                    </a:lnTo>
                    <a:lnTo>
                      <a:pt x="308325" y="153430"/>
                    </a:lnTo>
                    <a:lnTo>
                      <a:pt x="315703" y="153430"/>
                    </a:lnTo>
                    <a:lnTo>
                      <a:pt x="319392" y="146048"/>
                    </a:lnTo>
                    <a:lnTo>
                      <a:pt x="323081" y="146048"/>
                    </a:lnTo>
                    <a:lnTo>
                      <a:pt x="326770" y="142362"/>
                    </a:lnTo>
                    <a:lnTo>
                      <a:pt x="334149" y="138666"/>
                    </a:lnTo>
                    <a:lnTo>
                      <a:pt x="337838" y="138666"/>
                    </a:lnTo>
                    <a:lnTo>
                      <a:pt x="337838" y="142362"/>
                    </a:lnTo>
                    <a:lnTo>
                      <a:pt x="341527" y="142362"/>
                    </a:lnTo>
                    <a:lnTo>
                      <a:pt x="345216" y="138666"/>
                    </a:lnTo>
                    <a:lnTo>
                      <a:pt x="345216" y="142362"/>
                    </a:lnTo>
                    <a:lnTo>
                      <a:pt x="352595" y="142362"/>
                    </a:lnTo>
                    <a:lnTo>
                      <a:pt x="356284" y="138666"/>
                    </a:lnTo>
                    <a:lnTo>
                      <a:pt x="359973" y="138666"/>
                    </a:lnTo>
                    <a:lnTo>
                      <a:pt x="363662" y="134980"/>
                    </a:lnTo>
                    <a:lnTo>
                      <a:pt x="371040" y="127598"/>
                    </a:lnTo>
                    <a:lnTo>
                      <a:pt x="378419" y="123912"/>
                    </a:lnTo>
                    <a:lnTo>
                      <a:pt x="385798" y="120216"/>
                    </a:lnTo>
                    <a:lnTo>
                      <a:pt x="404244" y="105453"/>
                    </a:lnTo>
                    <a:lnTo>
                      <a:pt x="407933" y="101766"/>
                    </a:lnTo>
                    <a:lnTo>
                      <a:pt x="444825" y="57475"/>
                    </a:lnTo>
                    <a:lnTo>
                      <a:pt x="441135" y="57475"/>
                    </a:lnTo>
                    <a:lnTo>
                      <a:pt x="441135" y="53789"/>
                    </a:lnTo>
                    <a:lnTo>
                      <a:pt x="437446" y="53789"/>
                    </a:lnTo>
                    <a:lnTo>
                      <a:pt x="437446" y="50093"/>
                    </a:lnTo>
                    <a:lnTo>
                      <a:pt x="437446" y="46407"/>
                    </a:lnTo>
                    <a:lnTo>
                      <a:pt x="433757" y="50093"/>
                    </a:lnTo>
                    <a:lnTo>
                      <a:pt x="433757" y="46407"/>
                    </a:lnTo>
                    <a:lnTo>
                      <a:pt x="433757" y="42711"/>
                    </a:lnTo>
                    <a:lnTo>
                      <a:pt x="430068" y="39025"/>
                    </a:lnTo>
                    <a:lnTo>
                      <a:pt x="426379" y="39025"/>
                    </a:lnTo>
                    <a:lnTo>
                      <a:pt x="422690" y="39025"/>
                    </a:lnTo>
                    <a:lnTo>
                      <a:pt x="426379" y="35339"/>
                    </a:lnTo>
                    <a:lnTo>
                      <a:pt x="422690" y="35339"/>
                    </a:lnTo>
                    <a:lnTo>
                      <a:pt x="419000" y="35339"/>
                    </a:lnTo>
                    <a:lnTo>
                      <a:pt x="419000" y="39025"/>
                    </a:lnTo>
                    <a:lnTo>
                      <a:pt x="415311" y="42711"/>
                    </a:lnTo>
                    <a:lnTo>
                      <a:pt x="415311" y="46407"/>
                    </a:lnTo>
                    <a:lnTo>
                      <a:pt x="419000" y="50093"/>
                    </a:lnTo>
                    <a:lnTo>
                      <a:pt x="422690" y="50093"/>
                    </a:lnTo>
                    <a:lnTo>
                      <a:pt x="422690" y="53789"/>
                    </a:lnTo>
                    <a:lnTo>
                      <a:pt x="422690" y="57475"/>
                    </a:lnTo>
                    <a:lnTo>
                      <a:pt x="419000" y="53789"/>
                    </a:lnTo>
                    <a:lnTo>
                      <a:pt x="415311" y="57475"/>
                    </a:lnTo>
                    <a:lnTo>
                      <a:pt x="419000" y="57475"/>
                    </a:lnTo>
                    <a:lnTo>
                      <a:pt x="415311" y="61171"/>
                    </a:lnTo>
                    <a:lnTo>
                      <a:pt x="419000" y="61171"/>
                    </a:lnTo>
                    <a:lnTo>
                      <a:pt x="419000" y="64857"/>
                    </a:lnTo>
                    <a:lnTo>
                      <a:pt x="415311" y="61171"/>
                    </a:lnTo>
                    <a:lnTo>
                      <a:pt x="407933" y="61171"/>
                    </a:lnTo>
                    <a:lnTo>
                      <a:pt x="411622" y="64857"/>
                    </a:lnTo>
                    <a:lnTo>
                      <a:pt x="411622" y="68553"/>
                    </a:lnTo>
                    <a:lnTo>
                      <a:pt x="407933" y="61171"/>
                    </a:lnTo>
                    <a:lnTo>
                      <a:pt x="404244" y="57475"/>
                    </a:lnTo>
                    <a:lnTo>
                      <a:pt x="400555" y="57475"/>
                    </a:lnTo>
                    <a:lnTo>
                      <a:pt x="404244" y="61171"/>
                    </a:lnTo>
                    <a:lnTo>
                      <a:pt x="407933" y="64857"/>
                    </a:lnTo>
                    <a:lnTo>
                      <a:pt x="404244" y="64857"/>
                    </a:lnTo>
                    <a:lnTo>
                      <a:pt x="404244" y="61171"/>
                    </a:lnTo>
                    <a:lnTo>
                      <a:pt x="400555" y="61171"/>
                    </a:lnTo>
                    <a:lnTo>
                      <a:pt x="396865" y="61171"/>
                    </a:lnTo>
                    <a:lnTo>
                      <a:pt x="393176" y="61171"/>
                    </a:lnTo>
                    <a:lnTo>
                      <a:pt x="393176" y="64857"/>
                    </a:lnTo>
                    <a:lnTo>
                      <a:pt x="396865" y="64857"/>
                    </a:lnTo>
                    <a:lnTo>
                      <a:pt x="396865" y="68553"/>
                    </a:lnTo>
                    <a:lnTo>
                      <a:pt x="393176" y="68553"/>
                    </a:lnTo>
                    <a:lnTo>
                      <a:pt x="385798" y="53789"/>
                    </a:lnTo>
                    <a:lnTo>
                      <a:pt x="382109" y="53789"/>
                    </a:lnTo>
                    <a:lnTo>
                      <a:pt x="371040" y="46407"/>
                    </a:lnTo>
                    <a:lnTo>
                      <a:pt x="371040" y="42711"/>
                    </a:lnTo>
                    <a:lnTo>
                      <a:pt x="367351" y="42711"/>
                    </a:lnTo>
                    <a:lnTo>
                      <a:pt x="367351" y="46407"/>
                    </a:lnTo>
                    <a:lnTo>
                      <a:pt x="352595" y="42711"/>
                    </a:lnTo>
                    <a:lnTo>
                      <a:pt x="348905" y="39025"/>
                    </a:lnTo>
                    <a:lnTo>
                      <a:pt x="348905" y="35339"/>
                    </a:lnTo>
                    <a:lnTo>
                      <a:pt x="345216" y="31643"/>
                    </a:lnTo>
                    <a:lnTo>
                      <a:pt x="345216" y="27957"/>
                    </a:lnTo>
                    <a:lnTo>
                      <a:pt x="341527" y="24262"/>
                    </a:lnTo>
                    <a:lnTo>
                      <a:pt x="345216" y="20575"/>
                    </a:lnTo>
                    <a:lnTo>
                      <a:pt x="341527" y="20575"/>
                    </a:lnTo>
                    <a:lnTo>
                      <a:pt x="337838" y="16880"/>
                    </a:lnTo>
                    <a:lnTo>
                      <a:pt x="337838" y="13194"/>
                    </a:lnTo>
                    <a:lnTo>
                      <a:pt x="330460" y="13194"/>
                    </a:lnTo>
                    <a:lnTo>
                      <a:pt x="326770" y="13194"/>
                    </a:lnTo>
                    <a:lnTo>
                      <a:pt x="323081" y="9498"/>
                    </a:lnTo>
                    <a:lnTo>
                      <a:pt x="315703" y="9498"/>
                    </a:lnTo>
                    <a:lnTo>
                      <a:pt x="312014" y="16880"/>
                    </a:lnTo>
                    <a:lnTo>
                      <a:pt x="312014" y="20575"/>
                    </a:lnTo>
                    <a:lnTo>
                      <a:pt x="308325" y="20575"/>
                    </a:lnTo>
                    <a:lnTo>
                      <a:pt x="308325" y="27957"/>
                    </a:lnTo>
                    <a:lnTo>
                      <a:pt x="308325" y="31643"/>
                    </a:lnTo>
                    <a:lnTo>
                      <a:pt x="308325" y="35339"/>
                    </a:lnTo>
                    <a:lnTo>
                      <a:pt x="308325" y="39025"/>
                    </a:lnTo>
                    <a:lnTo>
                      <a:pt x="304635" y="42711"/>
                    </a:lnTo>
                    <a:lnTo>
                      <a:pt x="297257" y="42711"/>
                    </a:lnTo>
                    <a:lnTo>
                      <a:pt x="286190" y="46407"/>
                    </a:lnTo>
                    <a:lnTo>
                      <a:pt x="278811" y="50093"/>
                    </a:lnTo>
                    <a:lnTo>
                      <a:pt x="275122" y="53789"/>
                    </a:lnTo>
                    <a:lnTo>
                      <a:pt x="271433" y="53789"/>
                    </a:lnTo>
                    <a:lnTo>
                      <a:pt x="271433" y="57475"/>
                    </a:lnTo>
                    <a:lnTo>
                      <a:pt x="264055" y="57475"/>
                    </a:lnTo>
                    <a:lnTo>
                      <a:pt x="264055" y="61171"/>
                    </a:lnTo>
                    <a:lnTo>
                      <a:pt x="260366" y="64857"/>
                    </a:lnTo>
                    <a:lnTo>
                      <a:pt x="256676" y="64857"/>
                    </a:lnTo>
                    <a:lnTo>
                      <a:pt x="249298" y="64857"/>
                    </a:lnTo>
                    <a:lnTo>
                      <a:pt x="245609" y="64857"/>
                    </a:lnTo>
                    <a:lnTo>
                      <a:pt x="241920" y="61171"/>
                    </a:lnTo>
                    <a:lnTo>
                      <a:pt x="238231" y="61171"/>
                    </a:lnTo>
                    <a:lnTo>
                      <a:pt x="238231" y="64857"/>
                    </a:lnTo>
                    <a:lnTo>
                      <a:pt x="234541" y="61171"/>
                    </a:lnTo>
                    <a:lnTo>
                      <a:pt x="234541" y="64857"/>
                    </a:lnTo>
                    <a:lnTo>
                      <a:pt x="234541" y="68553"/>
                    </a:lnTo>
                    <a:lnTo>
                      <a:pt x="230852" y="61171"/>
                    </a:lnTo>
                    <a:lnTo>
                      <a:pt x="230852" y="57475"/>
                    </a:lnTo>
                    <a:lnTo>
                      <a:pt x="227162" y="57475"/>
                    </a:lnTo>
                    <a:lnTo>
                      <a:pt x="223473" y="57475"/>
                    </a:lnTo>
                    <a:lnTo>
                      <a:pt x="223473" y="53789"/>
                    </a:lnTo>
                    <a:lnTo>
                      <a:pt x="212406" y="53789"/>
                    </a:lnTo>
                    <a:lnTo>
                      <a:pt x="212406" y="64857"/>
                    </a:lnTo>
                    <a:lnTo>
                      <a:pt x="205027" y="61171"/>
                    </a:lnTo>
                    <a:lnTo>
                      <a:pt x="205027" y="57475"/>
                    </a:lnTo>
                    <a:lnTo>
                      <a:pt x="208716" y="53789"/>
                    </a:lnTo>
                    <a:lnTo>
                      <a:pt x="205027" y="53789"/>
                    </a:lnTo>
                    <a:lnTo>
                      <a:pt x="197649" y="53789"/>
                    </a:lnTo>
                    <a:lnTo>
                      <a:pt x="193960" y="53789"/>
                    </a:lnTo>
                    <a:lnTo>
                      <a:pt x="190271" y="53789"/>
                    </a:lnTo>
                    <a:lnTo>
                      <a:pt x="186581" y="53789"/>
                    </a:lnTo>
                    <a:lnTo>
                      <a:pt x="186581" y="50093"/>
                    </a:lnTo>
                    <a:lnTo>
                      <a:pt x="182892" y="46407"/>
                    </a:lnTo>
                    <a:lnTo>
                      <a:pt x="179203" y="42711"/>
                    </a:lnTo>
                    <a:lnTo>
                      <a:pt x="175514" y="42711"/>
                    </a:lnTo>
                    <a:lnTo>
                      <a:pt x="175514" y="39025"/>
                    </a:lnTo>
                    <a:lnTo>
                      <a:pt x="171825" y="35339"/>
                    </a:lnTo>
                    <a:lnTo>
                      <a:pt x="160757" y="35339"/>
                    </a:lnTo>
                    <a:lnTo>
                      <a:pt x="153379" y="31643"/>
                    </a:lnTo>
                    <a:lnTo>
                      <a:pt x="149690" y="31643"/>
                    </a:lnTo>
                    <a:lnTo>
                      <a:pt x="138622" y="27957"/>
                    </a:lnTo>
                    <a:lnTo>
                      <a:pt x="134933" y="27957"/>
                    </a:lnTo>
                    <a:lnTo>
                      <a:pt x="134933" y="24262"/>
                    </a:lnTo>
                    <a:lnTo>
                      <a:pt x="131244" y="24262"/>
                    </a:lnTo>
                    <a:lnTo>
                      <a:pt x="123866" y="20575"/>
                    </a:lnTo>
                    <a:lnTo>
                      <a:pt x="120177" y="20575"/>
                    </a:lnTo>
                    <a:lnTo>
                      <a:pt x="116487" y="16880"/>
                    </a:lnTo>
                    <a:lnTo>
                      <a:pt x="112798" y="13194"/>
                    </a:lnTo>
                    <a:lnTo>
                      <a:pt x="109109" y="13194"/>
                    </a:lnTo>
                    <a:lnTo>
                      <a:pt x="105420" y="9498"/>
                    </a:lnTo>
                    <a:lnTo>
                      <a:pt x="101731" y="9498"/>
                    </a:lnTo>
                    <a:lnTo>
                      <a:pt x="101731" y="5812"/>
                    </a:lnTo>
                    <a:lnTo>
                      <a:pt x="90663" y="5812"/>
                    </a:lnTo>
                    <a:lnTo>
                      <a:pt x="86974" y="5812"/>
                    </a:lnTo>
                    <a:lnTo>
                      <a:pt x="79595" y="5812"/>
                    </a:lnTo>
                    <a:close/>
                    <a:moveTo>
                      <a:pt x="415311" y="57475"/>
                    </a:moveTo>
                    <a:lnTo>
                      <a:pt x="411622" y="53789"/>
                    </a:lnTo>
                    <a:lnTo>
                      <a:pt x="407933" y="57475"/>
                    </a:lnTo>
                    <a:lnTo>
                      <a:pt x="415311" y="57475"/>
                    </a:lnTo>
                    <a:close/>
                    <a:moveTo>
                      <a:pt x="411622" y="53789"/>
                    </a:moveTo>
                    <a:lnTo>
                      <a:pt x="415311" y="53789"/>
                    </a:lnTo>
                    <a:lnTo>
                      <a:pt x="419000" y="53789"/>
                    </a:lnTo>
                    <a:lnTo>
                      <a:pt x="422690" y="53789"/>
                    </a:lnTo>
                    <a:lnTo>
                      <a:pt x="419000" y="50093"/>
                    </a:lnTo>
                    <a:lnTo>
                      <a:pt x="415311" y="50093"/>
                    </a:lnTo>
                    <a:lnTo>
                      <a:pt x="411622" y="50093"/>
                    </a:lnTo>
                    <a:lnTo>
                      <a:pt x="411622" y="53789"/>
                    </a:lnTo>
                    <a:close/>
                    <a:moveTo>
                      <a:pt x="419000" y="42711"/>
                    </a:moveTo>
                    <a:lnTo>
                      <a:pt x="422690" y="46407"/>
                    </a:lnTo>
                    <a:lnTo>
                      <a:pt x="419000" y="46407"/>
                    </a:lnTo>
                    <a:lnTo>
                      <a:pt x="419000" y="42711"/>
                    </a:lnTo>
                    <a:close/>
                    <a:moveTo>
                      <a:pt x="426379" y="42711"/>
                    </a:moveTo>
                    <a:lnTo>
                      <a:pt x="430068" y="42711"/>
                    </a:lnTo>
                    <a:lnTo>
                      <a:pt x="426379" y="46407"/>
                    </a:lnTo>
                    <a:lnTo>
                      <a:pt x="426379" y="42711"/>
                    </a:lnTo>
                    <a:close/>
                    <a:moveTo>
                      <a:pt x="400555" y="68553"/>
                    </a:moveTo>
                    <a:lnTo>
                      <a:pt x="404244" y="68553"/>
                    </a:lnTo>
                    <a:lnTo>
                      <a:pt x="404244" y="72239"/>
                    </a:lnTo>
                    <a:lnTo>
                      <a:pt x="400555" y="72239"/>
                    </a:lnTo>
                    <a:lnTo>
                      <a:pt x="400555" y="68553"/>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41" name="Google Shape;438;p2">
                <a:extLst>
                  <a:ext uri="{FF2B5EF4-FFF2-40B4-BE49-F238E27FC236}">
                    <a16:creationId xmlns:a16="http://schemas.microsoft.com/office/drawing/2014/main" id="{B95FB9B3-7AC8-4470-AF3C-350362D7A6A3}"/>
                  </a:ext>
                </a:extLst>
              </p:cNvPr>
              <p:cNvSpPr/>
              <p:nvPr/>
            </p:nvSpPr>
            <p:spPr>
              <a:xfrm>
                <a:off x="1420946" y="4678804"/>
                <a:ext cx="21660" cy="43320"/>
              </a:xfrm>
              <a:custGeom>
                <a:avLst/>
                <a:gdLst/>
                <a:ahLst/>
                <a:cxnLst/>
                <a:rect l="l" t="t" r="r" b="b"/>
                <a:pathLst>
                  <a:path w="9525" h="19050" extrusionOk="0">
                    <a:moveTo>
                      <a:pt x="9501" y="13184"/>
                    </a:moveTo>
                    <a:lnTo>
                      <a:pt x="9501" y="13184"/>
                    </a:lnTo>
                    <a:lnTo>
                      <a:pt x="5812" y="9498"/>
                    </a:lnTo>
                    <a:lnTo>
                      <a:pt x="5812" y="5812"/>
                    </a:lnTo>
                    <a:lnTo>
                      <a:pt x="5812" y="5812"/>
                    </a:lnTo>
                    <a:lnTo>
                      <a:pt x="9501" y="5812"/>
                    </a:lnTo>
                    <a:lnTo>
                      <a:pt x="13190" y="9498"/>
                    </a:lnTo>
                    <a:lnTo>
                      <a:pt x="13190" y="13184"/>
                    </a:lnTo>
                    <a:lnTo>
                      <a:pt x="9501" y="16879"/>
                    </a:lnTo>
                    <a:lnTo>
                      <a:pt x="9501" y="16879"/>
                    </a:lnTo>
                    <a:lnTo>
                      <a:pt x="9501" y="13184"/>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42" name="Google Shape;439;p2">
                <a:extLst>
                  <a:ext uri="{FF2B5EF4-FFF2-40B4-BE49-F238E27FC236}">
                    <a16:creationId xmlns:a16="http://schemas.microsoft.com/office/drawing/2014/main" id="{4A0D9DEB-4571-446E-BA72-11B43F0A92CA}"/>
                  </a:ext>
                </a:extLst>
              </p:cNvPr>
              <p:cNvSpPr/>
              <p:nvPr/>
            </p:nvSpPr>
            <p:spPr>
              <a:xfrm>
                <a:off x="1412557" y="4502559"/>
                <a:ext cx="86640" cy="108300"/>
              </a:xfrm>
              <a:custGeom>
                <a:avLst/>
                <a:gdLst/>
                <a:ahLst/>
                <a:cxnLst/>
                <a:rect l="l" t="t" r="r" b="b"/>
                <a:pathLst>
                  <a:path w="38100" h="47625" extrusionOk="0">
                    <a:moveTo>
                      <a:pt x="31636" y="5812"/>
                    </a:moveTo>
                    <a:lnTo>
                      <a:pt x="31636" y="5812"/>
                    </a:lnTo>
                    <a:lnTo>
                      <a:pt x="31636" y="5812"/>
                    </a:lnTo>
                    <a:lnTo>
                      <a:pt x="27947" y="9498"/>
                    </a:lnTo>
                    <a:lnTo>
                      <a:pt x="27947" y="16880"/>
                    </a:lnTo>
                    <a:lnTo>
                      <a:pt x="27947" y="20575"/>
                    </a:lnTo>
                    <a:lnTo>
                      <a:pt x="27947" y="20575"/>
                    </a:lnTo>
                    <a:lnTo>
                      <a:pt x="31636" y="24261"/>
                    </a:lnTo>
                    <a:lnTo>
                      <a:pt x="35325" y="20575"/>
                    </a:lnTo>
                    <a:lnTo>
                      <a:pt x="31636" y="16880"/>
                    </a:lnTo>
                    <a:lnTo>
                      <a:pt x="31636" y="16880"/>
                    </a:lnTo>
                    <a:lnTo>
                      <a:pt x="35325" y="20575"/>
                    </a:lnTo>
                    <a:lnTo>
                      <a:pt x="31636" y="24261"/>
                    </a:lnTo>
                    <a:lnTo>
                      <a:pt x="31636" y="24261"/>
                    </a:lnTo>
                    <a:lnTo>
                      <a:pt x="24257" y="20575"/>
                    </a:lnTo>
                    <a:lnTo>
                      <a:pt x="24257" y="24261"/>
                    </a:lnTo>
                    <a:lnTo>
                      <a:pt x="24257" y="27957"/>
                    </a:lnTo>
                    <a:lnTo>
                      <a:pt x="24257" y="27957"/>
                    </a:lnTo>
                    <a:lnTo>
                      <a:pt x="24257" y="27957"/>
                    </a:lnTo>
                    <a:lnTo>
                      <a:pt x="20568" y="24261"/>
                    </a:lnTo>
                    <a:lnTo>
                      <a:pt x="20568" y="24261"/>
                    </a:lnTo>
                    <a:lnTo>
                      <a:pt x="20568" y="24261"/>
                    </a:lnTo>
                    <a:lnTo>
                      <a:pt x="16879" y="27957"/>
                    </a:lnTo>
                    <a:lnTo>
                      <a:pt x="16879" y="27957"/>
                    </a:lnTo>
                    <a:lnTo>
                      <a:pt x="20568" y="27957"/>
                    </a:lnTo>
                    <a:lnTo>
                      <a:pt x="20568" y="31643"/>
                    </a:lnTo>
                    <a:lnTo>
                      <a:pt x="16879" y="31643"/>
                    </a:lnTo>
                    <a:lnTo>
                      <a:pt x="16879" y="27957"/>
                    </a:lnTo>
                    <a:lnTo>
                      <a:pt x="13190" y="31643"/>
                    </a:lnTo>
                    <a:lnTo>
                      <a:pt x="13190" y="31643"/>
                    </a:lnTo>
                    <a:lnTo>
                      <a:pt x="13190" y="35339"/>
                    </a:lnTo>
                    <a:lnTo>
                      <a:pt x="13190" y="42711"/>
                    </a:lnTo>
                    <a:lnTo>
                      <a:pt x="9501" y="42711"/>
                    </a:lnTo>
                    <a:lnTo>
                      <a:pt x="9501" y="42711"/>
                    </a:lnTo>
                    <a:lnTo>
                      <a:pt x="13190" y="35339"/>
                    </a:lnTo>
                    <a:lnTo>
                      <a:pt x="13190" y="31643"/>
                    </a:lnTo>
                    <a:lnTo>
                      <a:pt x="9501" y="27957"/>
                    </a:lnTo>
                    <a:lnTo>
                      <a:pt x="9501" y="27957"/>
                    </a:lnTo>
                    <a:lnTo>
                      <a:pt x="5812" y="27957"/>
                    </a:lnTo>
                    <a:lnTo>
                      <a:pt x="5812" y="27957"/>
                    </a:lnTo>
                    <a:lnTo>
                      <a:pt x="5812" y="27957"/>
                    </a:lnTo>
                    <a:lnTo>
                      <a:pt x="5812" y="27957"/>
                    </a:lnTo>
                    <a:lnTo>
                      <a:pt x="9501" y="27957"/>
                    </a:lnTo>
                    <a:lnTo>
                      <a:pt x="13190" y="20575"/>
                    </a:lnTo>
                    <a:lnTo>
                      <a:pt x="20568" y="16880"/>
                    </a:lnTo>
                    <a:lnTo>
                      <a:pt x="20568" y="13194"/>
                    </a:lnTo>
                    <a:lnTo>
                      <a:pt x="20568" y="13194"/>
                    </a:lnTo>
                    <a:lnTo>
                      <a:pt x="20568" y="9498"/>
                    </a:lnTo>
                    <a:lnTo>
                      <a:pt x="20568" y="9498"/>
                    </a:lnTo>
                    <a:lnTo>
                      <a:pt x="20568" y="9498"/>
                    </a:lnTo>
                    <a:lnTo>
                      <a:pt x="20568" y="13194"/>
                    </a:lnTo>
                    <a:lnTo>
                      <a:pt x="20568" y="13194"/>
                    </a:lnTo>
                    <a:lnTo>
                      <a:pt x="20568" y="13194"/>
                    </a:lnTo>
                    <a:lnTo>
                      <a:pt x="24257" y="13194"/>
                    </a:lnTo>
                    <a:lnTo>
                      <a:pt x="24257" y="13194"/>
                    </a:lnTo>
                    <a:lnTo>
                      <a:pt x="24257" y="13194"/>
                    </a:lnTo>
                    <a:lnTo>
                      <a:pt x="24257" y="13194"/>
                    </a:lnTo>
                    <a:lnTo>
                      <a:pt x="27947" y="13194"/>
                    </a:lnTo>
                    <a:lnTo>
                      <a:pt x="27947" y="9498"/>
                    </a:lnTo>
                    <a:lnTo>
                      <a:pt x="31636" y="5812"/>
                    </a:lnTo>
                    <a:lnTo>
                      <a:pt x="31636"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43" name="Google Shape;440;p2">
                <a:extLst>
                  <a:ext uri="{FF2B5EF4-FFF2-40B4-BE49-F238E27FC236}">
                    <a16:creationId xmlns:a16="http://schemas.microsoft.com/office/drawing/2014/main" id="{A4FE90D8-F868-42EE-BBC0-4AB91C7CDEFC}"/>
                  </a:ext>
                </a:extLst>
              </p:cNvPr>
              <p:cNvSpPr/>
              <p:nvPr/>
            </p:nvSpPr>
            <p:spPr>
              <a:xfrm>
                <a:off x="1412557" y="4846647"/>
                <a:ext cx="43320" cy="64980"/>
              </a:xfrm>
              <a:custGeom>
                <a:avLst/>
                <a:gdLst/>
                <a:ahLst/>
                <a:cxnLst/>
                <a:rect l="l" t="t" r="r" b="b"/>
                <a:pathLst>
                  <a:path w="19050" h="28575" extrusionOk="0">
                    <a:moveTo>
                      <a:pt x="20568" y="24261"/>
                    </a:moveTo>
                    <a:lnTo>
                      <a:pt x="9501" y="16880"/>
                    </a:lnTo>
                    <a:lnTo>
                      <a:pt x="5812" y="13193"/>
                    </a:lnTo>
                    <a:lnTo>
                      <a:pt x="5812" y="13193"/>
                    </a:lnTo>
                    <a:lnTo>
                      <a:pt x="9501" y="5812"/>
                    </a:lnTo>
                    <a:lnTo>
                      <a:pt x="13190" y="9498"/>
                    </a:lnTo>
                    <a:lnTo>
                      <a:pt x="20568" y="13193"/>
                    </a:lnTo>
                    <a:lnTo>
                      <a:pt x="16879" y="16880"/>
                    </a:lnTo>
                    <a:lnTo>
                      <a:pt x="16879" y="20575"/>
                    </a:lnTo>
                    <a:lnTo>
                      <a:pt x="20568" y="24261"/>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44" name="Google Shape;441;p2">
                <a:extLst>
                  <a:ext uri="{FF2B5EF4-FFF2-40B4-BE49-F238E27FC236}">
                    <a16:creationId xmlns:a16="http://schemas.microsoft.com/office/drawing/2014/main" id="{8B694594-DF6F-4E6E-AD05-5AC43715871F}"/>
                  </a:ext>
                </a:extLst>
              </p:cNvPr>
              <p:cNvSpPr/>
              <p:nvPr/>
            </p:nvSpPr>
            <p:spPr>
              <a:xfrm>
                <a:off x="1429335" y="4838242"/>
                <a:ext cx="43320" cy="21660"/>
              </a:xfrm>
              <a:custGeom>
                <a:avLst/>
                <a:gdLst/>
                <a:ahLst/>
                <a:cxnLst/>
                <a:rect l="l" t="t" r="r" b="b"/>
                <a:pathLst>
                  <a:path w="19050" h="9525" extrusionOk="0">
                    <a:moveTo>
                      <a:pt x="16879" y="13193"/>
                    </a:moveTo>
                    <a:lnTo>
                      <a:pt x="13190" y="13193"/>
                    </a:lnTo>
                    <a:lnTo>
                      <a:pt x="5812" y="9507"/>
                    </a:lnTo>
                    <a:lnTo>
                      <a:pt x="5812" y="9507"/>
                    </a:lnTo>
                    <a:lnTo>
                      <a:pt x="13190" y="5812"/>
                    </a:lnTo>
                    <a:lnTo>
                      <a:pt x="16879" y="5812"/>
                    </a:lnTo>
                    <a:lnTo>
                      <a:pt x="16879" y="5812"/>
                    </a:lnTo>
                    <a:lnTo>
                      <a:pt x="16879" y="13193"/>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45" name="Google Shape;442;p2">
                <a:extLst>
                  <a:ext uri="{FF2B5EF4-FFF2-40B4-BE49-F238E27FC236}">
                    <a16:creationId xmlns:a16="http://schemas.microsoft.com/office/drawing/2014/main" id="{BA022F06-D76E-47CD-821F-A891C3F8D952}"/>
                  </a:ext>
                </a:extLst>
              </p:cNvPr>
              <p:cNvSpPr/>
              <p:nvPr/>
            </p:nvSpPr>
            <p:spPr>
              <a:xfrm>
                <a:off x="1689403" y="4343098"/>
                <a:ext cx="43320" cy="21660"/>
              </a:xfrm>
              <a:custGeom>
                <a:avLst/>
                <a:gdLst/>
                <a:ahLst/>
                <a:cxnLst/>
                <a:rect l="l" t="t" r="r" b="b"/>
                <a:pathLst>
                  <a:path w="19050" h="9525" extrusionOk="0">
                    <a:moveTo>
                      <a:pt x="5812" y="9507"/>
                    </a:moveTo>
                    <a:lnTo>
                      <a:pt x="5812" y="9507"/>
                    </a:lnTo>
                    <a:lnTo>
                      <a:pt x="5812" y="9507"/>
                    </a:lnTo>
                    <a:lnTo>
                      <a:pt x="5812" y="5812"/>
                    </a:lnTo>
                    <a:lnTo>
                      <a:pt x="9501" y="5812"/>
                    </a:lnTo>
                    <a:lnTo>
                      <a:pt x="16879" y="9507"/>
                    </a:lnTo>
                    <a:lnTo>
                      <a:pt x="13190" y="9507"/>
                    </a:lnTo>
                    <a:lnTo>
                      <a:pt x="5812" y="9507"/>
                    </a:lnTo>
                    <a:lnTo>
                      <a:pt x="5812" y="9507"/>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46" name="Google Shape;443;p2">
                <a:extLst>
                  <a:ext uri="{FF2B5EF4-FFF2-40B4-BE49-F238E27FC236}">
                    <a16:creationId xmlns:a16="http://schemas.microsoft.com/office/drawing/2014/main" id="{1907945C-FC40-41BF-B04E-1BDEF2BD652A}"/>
                  </a:ext>
                </a:extLst>
              </p:cNvPr>
              <p:cNvSpPr/>
              <p:nvPr/>
            </p:nvSpPr>
            <p:spPr>
              <a:xfrm>
                <a:off x="1941080" y="4494154"/>
                <a:ext cx="64980" cy="64980"/>
              </a:xfrm>
              <a:custGeom>
                <a:avLst/>
                <a:gdLst/>
                <a:ahLst/>
                <a:cxnLst/>
                <a:rect l="l" t="t" r="r" b="b"/>
                <a:pathLst>
                  <a:path w="28575" h="28575" extrusionOk="0">
                    <a:moveTo>
                      <a:pt x="31636" y="24271"/>
                    </a:moveTo>
                    <a:lnTo>
                      <a:pt x="31636" y="20575"/>
                    </a:lnTo>
                    <a:lnTo>
                      <a:pt x="27947" y="16889"/>
                    </a:lnTo>
                    <a:lnTo>
                      <a:pt x="24257" y="13194"/>
                    </a:lnTo>
                    <a:lnTo>
                      <a:pt x="24257" y="16889"/>
                    </a:lnTo>
                    <a:lnTo>
                      <a:pt x="20568" y="16889"/>
                    </a:lnTo>
                    <a:lnTo>
                      <a:pt x="13190" y="9507"/>
                    </a:lnTo>
                    <a:lnTo>
                      <a:pt x="16879" y="5812"/>
                    </a:lnTo>
                    <a:lnTo>
                      <a:pt x="16879" y="5812"/>
                    </a:lnTo>
                    <a:lnTo>
                      <a:pt x="13190" y="5812"/>
                    </a:lnTo>
                    <a:lnTo>
                      <a:pt x="13190" y="9507"/>
                    </a:lnTo>
                    <a:lnTo>
                      <a:pt x="5812" y="9507"/>
                    </a:lnTo>
                    <a:lnTo>
                      <a:pt x="5812" y="5812"/>
                    </a:lnTo>
                    <a:lnTo>
                      <a:pt x="13190" y="5812"/>
                    </a:lnTo>
                    <a:lnTo>
                      <a:pt x="13190" y="5812"/>
                    </a:lnTo>
                    <a:lnTo>
                      <a:pt x="24257" y="5812"/>
                    </a:lnTo>
                    <a:lnTo>
                      <a:pt x="27947" y="5812"/>
                    </a:lnTo>
                    <a:lnTo>
                      <a:pt x="27947" y="5812"/>
                    </a:lnTo>
                    <a:lnTo>
                      <a:pt x="24257" y="5812"/>
                    </a:lnTo>
                    <a:lnTo>
                      <a:pt x="24257" y="5812"/>
                    </a:lnTo>
                    <a:lnTo>
                      <a:pt x="20568" y="5812"/>
                    </a:lnTo>
                    <a:lnTo>
                      <a:pt x="20568" y="5812"/>
                    </a:lnTo>
                    <a:lnTo>
                      <a:pt x="20568" y="9507"/>
                    </a:lnTo>
                    <a:lnTo>
                      <a:pt x="20568" y="9507"/>
                    </a:lnTo>
                    <a:lnTo>
                      <a:pt x="27947" y="9507"/>
                    </a:lnTo>
                    <a:lnTo>
                      <a:pt x="27947" y="13194"/>
                    </a:lnTo>
                    <a:lnTo>
                      <a:pt x="31636" y="16889"/>
                    </a:lnTo>
                    <a:lnTo>
                      <a:pt x="31636" y="20575"/>
                    </a:lnTo>
                    <a:lnTo>
                      <a:pt x="31636" y="24271"/>
                    </a:lnTo>
                    <a:lnTo>
                      <a:pt x="31636" y="24271"/>
                    </a:lnTo>
                    <a:lnTo>
                      <a:pt x="31636" y="24271"/>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47" name="Google Shape;444;p2">
                <a:extLst>
                  <a:ext uri="{FF2B5EF4-FFF2-40B4-BE49-F238E27FC236}">
                    <a16:creationId xmlns:a16="http://schemas.microsoft.com/office/drawing/2014/main" id="{E1A1D3DD-1363-43EB-8D27-50DDEEE3F059}"/>
                  </a:ext>
                </a:extLst>
              </p:cNvPr>
              <p:cNvSpPr/>
              <p:nvPr/>
            </p:nvSpPr>
            <p:spPr>
              <a:xfrm>
                <a:off x="1622288" y="4695568"/>
                <a:ext cx="21660" cy="21660"/>
              </a:xfrm>
              <a:custGeom>
                <a:avLst/>
                <a:gdLst/>
                <a:ahLst/>
                <a:cxnLst/>
                <a:rect l="l" t="t" r="r" b="b"/>
                <a:pathLst>
                  <a:path w="9525" h="9525" extrusionOk="0">
                    <a:moveTo>
                      <a:pt x="9501" y="9507"/>
                    </a:moveTo>
                    <a:lnTo>
                      <a:pt x="9501" y="5812"/>
                    </a:lnTo>
                    <a:lnTo>
                      <a:pt x="5812" y="5812"/>
                    </a:lnTo>
                    <a:lnTo>
                      <a:pt x="9501" y="5812"/>
                    </a:lnTo>
                    <a:lnTo>
                      <a:pt x="9501" y="5812"/>
                    </a:lnTo>
                    <a:lnTo>
                      <a:pt x="9501" y="9507"/>
                    </a:lnTo>
                    <a:lnTo>
                      <a:pt x="9501" y="9507"/>
                    </a:lnTo>
                    <a:lnTo>
                      <a:pt x="9501" y="9507"/>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48" name="Google Shape;445;p2">
                <a:extLst>
                  <a:ext uri="{FF2B5EF4-FFF2-40B4-BE49-F238E27FC236}">
                    <a16:creationId xmlns:a16="http://schemas.microsoft.com/office/drawing/2014/main" id="{4989F4D6-5B6B-4908-ABBE-A1DEF103820A}"/>
                  </a:ext>
                </a:extLst>
              </p:cNvPr>
              <p:cNvSpPr/>
              <p:nvPr/>
            </p:nvSpPr>
            <p:spPr>
              <a:xfrm>
                <a:off x="1370613" y="4586470"/>
                <a:ext cx="303240" cy="151620"/>
              </a:xfrm>
              <a:custGeom>
                <a:avLst/>
                <a:gdLst/>
                <a:ahLst/>
                <a:cxnLst/>
                <a:rect l="l" t="t" r="r" b="b"/>
                <a:pathLst>
                  <a:path w="133350" h="66675" extrusionOk="0">
                    <a:moveTo>
                      <a:pt x="109108" y="5812"/>
                    </a:moveTo>
                    <a:lnTo>
                      <a:pt x="109108" y="5812"/>
                    </a:lnTo>
                    <a:lnTo>
                      <a:pt x="112797" y="5812"/>
                    </a:lnTo>
                    <a:lnTo>
                      <a:pt x="112797" y="5812"/>
                    </a:lnTo>
                    <a:lnTo>
                      <a:pt x="112797" y="9507"/>
                    </a:lnTo>
                    <a:lnTo>
                      <a:pt x="116487" y="9507"/>
                    </a:lnTo>
                    <a:lnTo>
                      <a:pt x="120176" y="9507"/>
                    </a:lnTo>
                    <a:lnTo>
                      <a:pt x="123865" y="13193"/>
                    </a:lnTo>
                    <a:lnTo>
                      <a:pt x="123865" y="16889"/>
                    </a:lnTo>
                    <a:lnTo>
                      <a:pt x="127554" y="24271"/>
                    </a:lnTo>
                    <a:lnTo>
                      <a:pt x="131243" y="27957"/>
                    </a:lnTo>
                    <a:lnTo>
                      <a:pt x="131243" y="31653"/>
                    </a:lnTo>
                    <a:lnTo>
                      <a:pt x="131243" y="31653"/>
                    </a:lnTo>
                    <a:lnTo>
                      <a:pt x="134932" y="31653"/>
                    </a:lnTo>
                    <a:lnTo>
                      <a:pt x="134932" y="35339"/>
                    </a:lnTo>
                    <a:lnTo>
                      <a:pt x="134932" y="39035"/>
                    </a:lnTo>
                    <a:lnTo>
                      <a:pt x="134932" y="39035"/>
                    </a:lnTo>
                    <a:lnTo>
                      <a:pt x="134932" y="42721"/>
                    </a:lnTo>
                    <a:lnTo>
                      <a:pt x="134932" y="42721"/>
                    </a:lnTo>
                    <a:lnTo>
                      <a:pt x="131243" y="46417"/>
                    </a:lnTo>
                    <a:lnTo>
                      <a:pt x="123865" y="46417"/>
                    </a:lnTo>
                    <a:lnTo>
                      <a:pt x="123865" y="46417"/>
                    </a:lnTo>
                    <a:lnTo>
                      <a:pt x="123865" y="46417"/>
                    </a:lnTo>
                    <a:lnTo>
                      <a:pt x="120176" y="53789"/>
                    </a:lnTo>
                    <a:lnTo>
                      <a:pt x="120176" y="53789"/>
                    </a:lnTo>
                    <a:lnTo>
                      <a:pt x="112797" y="53789"/>
                    </a:lnTo>
                    <a:lnTo>
                      <a:pt x="109108" y="50103"/>
                    </a:lnTo>
                    <a:lnTo>
                      <a:pt x="105419" y="46417"/>
                    </a:lnTo>
                    <a:lnTo>
                      <a:pt x="105419" y="46417"/>
                    </a:lnTo>
                    <a:lnTo>
                      <a:pt x="98041" y="46417"/>
                    </a:lnTo>
                    <a:lnTo>
                      <a:pt x="94352" y="46417"/>
                    </a:lnTo>
                    <a:lnTo>
                      <a:pt x="94352" y="50103"/>
                    </a:lnTo>
                    <a:lnTo>
                      <a:pt x="90662" y="50103"/>
                    </a:lnTo>
                    <a:lnTo>
                      <a:pt x="90662" y="50103"/>
                    </a:lnTo>
                    <a:lnTo>
                      <a:pt x="86973" y="50103"/>
                    </a:lnTo>
                    <a:lnTo>
                      <a:pt x="79595" y="50103"/>
                    </a:lnTo>
                    <a:lnTo>
                      <a:pt x="75906" y="46417"/>
                    </a:lnTo>
                    <a:lnTo>
                      <a:pt x="68528" y="46417"/>
                    </a:lnTo>
                    <a:lnTo>
                      <a:pt x="53771" y="50103"/>
                    </a:lnTo>
                    <a:lnTo>
                      <a:pt x="50082" y="53789"/>
                    </a:lnTo>
                    <a:lnTo>
                      <a:pt x="46393" y="61171"/>
                    </a:lnTo>
                    <a:lnTo>
                      <a:pt x="42703" y="61171"/>
                    </a:lnTo>
                    <a:lnTo>
                      <a:pt x="39014" y="68553"/>
                    </a:lnTo>
                    <a:lnTo>
                      <a:pt x="39014" y="68553"/>
                    </a:lnTo>
                    <a:lnTo>
                      <a:pt x="39014" y="64867"/>
                    </a:lnTo>
                    <a:lnTo>
                      <a:pt x="35325" y="61171"/>
                    </a:lnTo>
                    <a:lnTo>
                      <a:pt x="39014" y="57485"/>
                    </a:lnTo>
                    <a:lnTo>
                      <a:pt x="39014" y="53789"/>
                    </a:lnTo>
                    <a:lnTo>
                      <a:pt x="39014" y="50103"/>
                    </a:lnTo>
                    <a:lnTo>
                      <a:pt x="31636" y="42721"/>
                    </a:lnTo>
                    <a:lnTo>
                      <a:pt x="35325" y="42721"/>
                    </a:lnTo>
                    <a:lnTo>
                      <a:pt x="35325" y="39035"/>
                    </a:lnTo>
                    <a:lnTo>
                      <a:pt x="39014" y="35339"/>
                    </a:lnTo>
                    <a:lnTo>
                      <a:pt x="39014" y="35339"/>
                    </a:lnTo>
                    <a:lnTo>
                      <a:pt x="35325" y="39035"/>
                    </a:lnTo>
                    <a:lnTo>
                      <a:pt x="35325" y="39035"/>
                    </a:lnTo>
                    <a:lnTo>
                      <a:pt x="31636" y="42721"/>
                    </a:lnTo>
                    <a:lnTo>
                      <a:pt x="31636" y="42721"/>
                    </a:lnTo>
                    <a:lnTo>
                      <a:pt x="27947" y="39035"/>
                    </a:lnTo>
                    <a:lnTo>
                      <a:pt x="24258" y="35339"/>
                    </a:lnTo>
                    <a:lnTo>
                      <a:pt x="20568" y="35339"/>
                    </a:lnTo>
                    <a:lnTo>
                      <a:pt x="16879" y="31653"/>
                    </a:lnTo>
                    <a:lnTo>
                      <a:pt x="13190" y="31653"/>
                    </a:lnTo>
                    <a:lnTo>
                      <a:pt x="13190" y="24271"/>
                    </a:lnTo>
                    <a:lnTo>
                      <a:pt x="9501" y="24271"/>
                    </a:lnTo>
                    <a:lnTo>
                      <a:pt x="9501" y="20575"/>
                    </a:lnTo>
                    <a:lnTo>
                      <a:pt x="9501" y="16889"/>
                    </a:lnTo>
                    <a:lnTo>
                      <a:pt x="13190" y="16889"/>
                    </a:lnTo>
                    <a:lnTo>
                      <a:pt x="13190" y="16889"/>
                    </a:lnTo>
                    <a:lnTo>
                      <a:pt x="9501" y="16889"/>
                    </a:lnTo>
                    <a:lnTo>
                      <a:pt x="5812" y="16889"/>
                    </a:lnTo>
                    <a:lnTo>
                      <a:pt x="5812" y="16889"/>
                    </a:lnTo>
                    <a:lnTo>
                      <a:pt x="5812" y="16889"/>
                    </a:lnTo>
                    <a:lnTo>
                      <a:pt x="16879" y="13193"/>
                    </a:lnTo>
                    <a:lnTo>
                      <a:pt x="27947" y="9507"/>
                    </a:lnTo>
                    <a:lnTo>
                      <a:pt x="27947" y="5812"/>
                    </a:lnTo>
                    <a:lnTo>
                      <a:pt x="27947" y="5812"/>
                    </a:lnTo>
                    <a:lnTo>
                      <a:pt x="31636" y="5812"/>
                    </a:lnTo>
                    <a:lnTo>
                      <a:pt x="31636" y="5812"/>
                    </a:lnTo>
                    <a:lnTo>
                      <a:pt x="31636" y="9507"/>
                    </a:lnTo>
                    <a:lnTo>
                      <a:pt x="35325" y="9507"/>
                    </a:lnTo>
                    <a:lnTo>
                      <a:pt x="39014" y="9507"/>
                    </a:lnTo>
                    <a:lnTo>
                      <a:pt x="42703" y="13193"/>
                    </a:lnTo>
                    <a:lnTo>
                      <a:pt x="46393" y="13193"/>
                    </a:lnTo>
                    <a:lnTo>
                      <a:pt x="50082" y="16889"/>
                    </a:lnTo>
                    <a:lnTo>
                      <a:pt x="50082" y="16889"/>
                    </a:lnTo>
                    <a:lnTo>
                      <a:pt x="53771" y="16889"/>
                    </a:lnTo>
                    <a:lnTo>
                      <a:pt x="57460" y="13193"/>
                    </a:lnTo>
                    <a:lnTo>
                      <a:pt x="61149" y="13193"/>
                    </a:lnTo>
                    <a:lnTo>
                      <a:pt x="68528" y="9507"/>
                    </a:lnTo>
                    <a:lnTo>
                      <a:pt x="68528" y="9507"/>
                    </a:lnTo>
                    <a:lnTo>
                      <a:pt x="75906" y="13193"/>
                    </a:lnTo>
                    <a:lnTo>
                      <a:pt x="79595" y="9507"/>
                    </a:lnTo>
                    <a:lnTo>
                      <a:pt x="79595" y="9507"/>
                    </a:lnTo>
                    <a:lnTo>
                      <a:pt x="86973" y="5812"/>
                    </a:lnTo>
                    <a:lnTo>
                      <a:pt x="86973" y="5812"/>
                    </a:lnTo>
                    <a:lnTo>
                      <a:pt x="94352" y="5812"/>
                    </a:lnTo>
                    <a:lnTo>
                      <a:pt x="98041" y="9507"/>
                    </a:lnTo>
                    <a:lnTo>
                      <a:pt x="105419" y="5812"/>
                    </a:lnTo>
                    <a:lnTo>
                      <a:pt x="109108" y="5812"/>
                    </a:lnTo>
                    <a:lnTo>
                      <a:pt x="109108"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grpSp>
        <p:grpSp>
          <p:nvGrpSpPr>
            <p:cNvPr id="26" name="Google Shape;446;p2">
              <a:extLst>
                <a:ext uri="{FF2B5EF4-FFF2-40B4-BE49-F238E27FC236}">
                  <a16:creationId xmlns:a16="http://schemas.microsoft.com/office/drawing/2014/main" id="{7C9B24AA-0991-4ED7-BC83-9B28E3509D1A}"/>
                </a:ext>
              </a:extLst>
            </p:cNvPr>
            <p:cNvGrpSpPr/>
            <p:nvPr/>
          </p:nvGrpSpPr>
          <p:grpSpPr>
            <a:xfrm>
              <a:off x="1605510" y="3294039"/>
              <a:ext cx="1489045" cy="1224241"/>
              <a:chOff x="1605510" y="3294039"/>
              <a:chExt cx="1489045" cy="1224241"/>
            </a:xfrm>
            <a:grpFill/>
          </p:grpSpPr>
          <p:sp>
            <p:nvSpPr>
              <p:cNvPr id="29" name="Google Shape;447;p2">
                <a:extLst>
                  <a:ext uri="{FF2B5EF4-FFF2-40B4-BE49-F238E27FC236}">
                    <a16:creationId xmlns:a16="http://schemas.microsoft.com/office/drawing/2014/main" id="{5C241DD7-FEBD-4B36-89AA-69E980419491}"/>
                  </a:ext>
                </a:extLst>
              </p:cNvPr>
              <p:cNvSpPr/>
              <p:nvPr/>
            </p:nvSpPr>
            <p:spPr>
              <a:xfrm>
                <a:off x="1773296" y="3294039"/>
                <a:ext cx="1321259" cy="1147978"/>
              </a:xfrm>
              <a:custGeom>
                <a:avLst/>
                <a:gdLst/>
                <a:ahLst/>
                <a:cxnLst/>
                <a:rect l="l" t="t" r="r" b="b"/>
                <a:pathLst>
                  <a:path w="581025" h="504825" extrusionOk="0">
                    <a:moveTo>
                      <a:pt x="260365" y="5812"/>
                    </a:moveTo>
                    <a:lnTo>
                      <a:pt x="238230" y="53789"/>
                    </a:lnTo>
                    <a:lnTo>
                      <a:pt x="230852" y="64867"/>
                    </a:lnTo>
                    <a:lnTo>
                      <a:pt x="227163" y="72248"/>
                    </a:lnTo>
                    <a:lnTo>
                      <a:pt x="216096" y="90698"/>
                    </a:lnTo>
                    <a:lnTo>
                      <a:pt x="212406" y="94385"/>
                    </a:lnTo>
                    <a:lnTo>
                      <a:pt x="212406" y="98080"/>
                    </a:lnTo>
                    <a:lnTo>
                      <a:pt x="205028" y="109148"/>
                    </a:lnTo>
                    <a:lnTo>
                      <a:pt x="201339" y="116530"/>
                    </a:lnTo>
                    <a:lnTo>
                      <a:pt x="190271" y="131294"/>
                    </a:lnTo>
                    <a:lnTo>
                      <a:pt x="168136" y="160821"/>
                    </a:lnTo>
                    <a:lnTo>
                      <a:pt x="157069" y="168203"/>
                    </a:lnTo>
                    <a:lnTo>
                      <a:pt x="157069" y="171889"/>
                    </a:lnTo>
                    <a:lnTo>
                      <a:pt x="149690" y="179271"/>
                    </a:lnTo>
                    <a:lnTo>
                      <a:pt x="146001" y="179271"/>
                    </a:lnTo>
                    <a:lnTo>
                      <a:pt x="146001" y="182967"/>
                    </a:lnTo>
                    <a:lnTo>
                      <a:pt x="146001" y="186653"/>
                    </a:lnTo>
                    <a:lnTo>
                      <a:pt x="149690" y="186653"/>
                    </a:lnTo>
                    <a:lnTo>
                      <a:pt x="146001" y="190339"/>
                    </a:lnTo>
                    <a:lnTo>
                      <a:pt x="146001" y="186653"/>
                    </a:lnTo>
                    <a:lnTo>
                      <a:pt x="142311" y="186653"/>
                    </a:lnTo>
                    <a:lnTo>
                      <a:pt x="138622" y="190339"/>
                    </a:lnTo>
                    <a:lnTo>
                      <a:pt x="134933" y="197721"/>
                    </a:lnTo>
                    <a:lnTo>
                      <a:pt x="131244" y="201417"/>
                    </a:lnTo>
                    <a:lnTo>
                      <a:pt x="120176" y="212485"/>
                    </a:lnTo>
                    <a:lnTo>
                      <a:pt x="112798" y="219867"/>
                    </a:lnTo>
                    <a:lnTo>
                      <a:pt x="101731" y="234631"/>
                    </a:lnTo>
                    <a:lnTo>
                      <a:pt x="98041" y="238317"/>
                    </a:lnTo>
                    <a:lnTo>
                      <a:pt x="90663" y="245699"/>
                    </a:lnTo>
                    <a:lnTo>
                      <a:pt x="86974" y="249394"/>
                    </a:lnTo>
                    <a:lnTo>
                      <a:pt x="86974" y="253081"/>
                    </a:lnTo>
                    <a:lnTo>
                      <a:pt x="79596" y="264158"/>
                    </a:lnTo>
                    <a:lnTo>
                      <a:pt x="72217" y="267844"/>
                    </a:lnTo>
                    <a:lnTo>
                      <a:pt x="64839" y="275226"/>
                    </a:lnTo>
                    <a:lnTo>
                      <a:pt x="61150" y="275226"/>
                    </a:lnTo>
                    <a:lnTo>
                      <a:pt x="57461" y="271540"/>
                    </a:lnTo>
                    <a:lnTo>
                      <a:pt x="39015" y="267844"/>
                    </a:lnTo>
                    <a:lnTo>
                      <a:pt x="35326" y="271540"/>
                    </a:lnTo>
                    <a:lnTo>
                      <a:pt x="31637" y="271540"/>
                    </a:lnTo>
                    <a:lnTo>
                      <a:pt x="27947" y="271540"/>
                    </a:lnTo>
                    <a:lnTo>
                      <a:pt x="24258" y="275226"/>
                    </a:lnTo>
                    <a:lnTo>
                      <a:pt x="24258" y="278922"/>
                    </a:lnTo>
                    <a:lnTo>
                      <a:pt x="20569" y="282608"/>
                    </a:lnTo>
                    <a:lnTo>
                      <a:pt x="16880" y="289990"/>
                    </a:lnTo>
                    <a:lnTo>
                      <a:pt x="20569" y="293676"/>
                    </a:lnTo>
                    <a:lnTo>
                      <a:pt x="24258" y="297372"/>
                    </a:lnTo>
                    <a:lnTo>
                      <a:pt x="24258" y="301058"/>
                    </a:lnTo>
                    <a:lnTo>
                      <a:pt x="16880" y="308440"/>
                    </a:lnTo>
                    <a:lnTo>
                      <a:pt x="13191" y="315822"/>
                    </a:lnTo>
                    <a:lnTo>
                      <a:pt x="5812" y="326899"/>
                    </a:lnTo>
                    <a:lnTo>
                      <a:pt x="9502" y="326899"/>
                    </a:lnTo>
                    <a:lnTo>
                      <a:pt x="13191" y="326899"/>
                    </a:lnTo>
                    <a:lnTo>
                      <a:pt x="16880" y="330585"/>
                    </a:lnTo>
                    <a:lnTo>
                      <a:pt x="20569" y="326899"/>
                    </a:lnTo>
                    <a:lnTo>
                      <a:pt x="35326" y="323204"/>
                    </a:lnTo>
                    <a:lnTo>
                      <a:pt x="39015" y="323204"/>
                    </a:lnTo>
                    <a:lnTo>
                      <a:pt x="42704" y="330585"/>
                    </a:lnTo>
                    <a:lnTo>
                      <a:pt x="39015" y="330585"/>
                    </a:lnTo>
                    <a:lnTo>
                      <a:pt x="39015" y="334272"/>
                    </a:lnTo>
                    <a:lnTo>
                      <a:pt x="31637" y="341654"/>
                    </a:lnTo>
                    <a:lnTo>
                      <a:pt x="31637" y="345349"/>
                    </a:lnTo>
                    <a:lnTo>
                      <a:pt x="27947" y="349035"/>
                    </a:lnTo>
                    <a:lnTo>
                      <a:pt x="27947" y="352731"/>
                    </a:lnTo>
                    <a:lnTo>
                      <a:pt x="31637" y="356417"/>
                    </a:lnTo>
                    <a:lnTo>
                      <a:pt x="46393" y="378563"/>
                    </a:lnTo>
                    <a:lnTo>
                      <a:pt x="46393" y="382249"/>
                    </a:lnTo>
                    <a:lnTo>
                      <a:pt x="46393" y="385945"/>
                    </a:lnTo>
                    <a:lnTo>
                      <a:pt x="42704" y="389631"/>
                    </a:lnTo>
                    <a:lnTo>
                      <a:pt x="50082" y="385945"/>
                    </a:lnTo>
                    <a:lnTo>
                      <a:pt x="53772" y="389631"/>
                    </a:lnTo>
                    <a:lnTo>
                      <a:pt x="57461" y="393327"/>
                    </a:lnTo>
                    <a:lnTo>
                      <a:pt x="61150" y="397013"/>
                    </a:lnTo>
                    <a:lnTo>
                      <a:pt x="61150" y="400709"/>
                    </a:lnTo>
                    <a:lnTo>
                      <a:pt x="64839" y="400709"/>
                    </a:lnTo>
                    <a:lnTo>
                      <a:pt x="68528" y="400709"/>
                    </a:lnTo>
                    <a:lnTo>
                      <a:pt x="72217" y="400709"/>
                    </a:lnTo>
                    <a:lnTo>
                      <a:pt x="75906" y="400709"/>
                    </a:lnTo>
                    <a:lnTo>
                      <a:pt x="72217" y="404395"/>
                    </a:lnTo>
                    <a:lnTo>
                      <a:pt x="75906" y="408090"/>
                    </a:lnTo>
                    <a:lnTo>
                      <a:pt x="79596" y="408090"/>
                    </a:lnTo>
                    <a:lnTo>
                      <a:pt x="79596" y="404395"/>
                    </a:lnTo>
                    <a:lnTo>
                      <a:pt x="83285" y="404395"/>
                    </a:lnTo>
                    <a:lnTo>
                      <a:pt x="86974" y="404395"/>
                    </a:lnTo>
                    <a:lnTo>
                      <a:pt x="90663" y="404395"/>
                    </a:lnTo>
                    <a:lnTo>
                      <a:pt x="94352" y="408090"/>
                    </a:lnTo>
                    <a:lnTo>
                      <a:pt x="101731" y="419158"/>
                    </a:lnTo>
                    <a:lnTo>
                      <a:pt x="105420" y="419158"/>
                    </a:lnTo>
                    <a:lnTo>
                      <a:pt x="109109" y="419158"/>
                    </a:lnTo>
                    <a:lnTo>
                      <a:pt x="112798" y="419158"/>
                    </a:lnTo>
                    <a:lnTo>
                      <a:pt x="112798" y="422854"/>
                    </a:lnTo>
                    <a:lnTo>
                      <a:pt x="120176" y="422854"/>
                    </a:lnTo>
                    <a:lnTo>
                      <a:pt x="123866" y="430227"/>
                    </a:lnTo>
                    <a:lnTo>
                      <a:pt x="127555" y="433922"/>
                    </a:lnTo>
                    <a:lnTo>
                      <a:pt x="131244" y="433922"/>
                    </a:lnTo>
                    <a:lnTo>
                      <a:pt x="134933" y="433922"/>
                    </a:lnTo>
                    <a:lnTo>
                      <a:pt x="131244" y="437608"/>
                    </a:lnTo>
                    <a:lnTo>
                      <a:pt x="127555" y="437608"/>
                    </a:lnTo>
                    <a:lnTo>
                      <a:pt x="131244" y="444990"/>
                    </a:lnTo>
                    <a:lnTo>
                      <a:pt x="134933" y="448686"/>
                    </a:lnTo>
                    <a:lnTo>
                      <a:pt x="146001" y="452372"/>
                    </a:lnTo>
                    <a:lnTo>
                      <a:pt x="146001" y="456068"/>
                    </a:lnTo>
                    <a:lnTo>
                      <a:pt x="153380" y="456068"/>
                    </a:lnTo>
                    <a:lnTo>
                      <a:pt x="160758" y="459754"/>
                    </a:lnTo>
                    <a:lnTo>
                      <a:pt x="168136" y="459754"/>
                    </a:lnTo>
                    <a:lnTo>
                      <a:pt x="168136" y="463450"/>
                    </a:lnTo>
                    <a:lnTo>
                      <a:pt x="182893" y="467136"/>
                    </a:lnTo>
                    <a:lnTo>
                      <a:pt x="190271" y="474518"/>
                    </a:lnTo>
                    <a:lnTo>
                      <a:pt x="193961" y="474518"/>
                    </a:lnTo>
                    <a:lnTo>
                      <a:pt x="201339" y="478204"/>
                    </a:lnTo>
                    <a:lnTo>
                      <a:pt x="212406" y="485586"/>
                    </a:lnTo>
                    <a:lnTo>
                      <a:pt x="216096" y="485586"/>
                    </a:lnTo>
                    <a:lnTo>
                      <a:pt x="219785" y="489281"/>
                    </a:lnTo>
                    <a:lnTo>
                      <a:pt x="227163" y="489281"/>
                    </a:lnTo>
                    <a:lnTo>
                      <a:pt x="227163" y="492968"/>
                    </a:lnTo>
                    <a:lnTo>
                      <a:pt x="241920" y="492968"/>
                    </a:lnTo>
                    <a:lnTo>
                      <a:pt x="245609" y="492968"/>
                    </a:lnTo>
                    <a:lnTo>
                      <a:pt x="252987" y="496663"/>
                    </a:lnTo>
                    <a:lnTo>
                      <a:pt x="256676" y="496663"/>
                    </a:lnTo>
                    <a:lnTo>
                      <a:pt x="260365" y="496663"/>
                    </a:lnTo>
                    <a:lnTo>
                      <a:pt x="264055" y="500350"/>
                    </a:lnTo>
                    <a:lnTo>
                      <a:pt x="267744" y="500350"/>
                    </a:lnTo>
                    <a:lnTo>
                      <a:pt x="271433" y="504045"/>
                    </a:lnTo>
                    <a:lnTo>
                      <a:pt x="275122" y="504045"/>
                    </a:lnTo>
                    <a:lnTo>
                      <a:pt x="282500" y="500350"/>
                    </a:lnTo>
                    <a:lnTo>
                      <a:pt x="286190" y="500350"/>
                    </a:lnTo>
                    <a:lnTo>
                      <a:pt x="297258" y="496663"/>
                    </a:lnTo>
                    <a:lnTo>
                      <a:pt x="300947" y="496663"/>
                    </a:lnTo>
                    <a:lnTo>
                      <a:pt x="304636" y="492968"/>
                    </a:lnTo>
                    <a:lnTo>
                      <a:pt x="312015" y="492968"/>
                    </a:lnTo>
                    <a:lnTo>
                      <a:pt x="315704" y="485586"/>
                    </a:lnTo>
                    <a:lnTo>
                      <a:pt x="319393" y="489281"/>
                    </a:lnTo>
                    <a:lnTo>
                      <a:pt x="323082" y="489281"/>
                    </a:lnTo>
                    <a:lnTo>
                      <a:pt x="330460" y="485586"/>
                    </a:lnTo>
                    <a:lnTo>
                      <a:pt x="330460" y="489281"/>
                    </a:lnTo>
                    <a:lnTo>
                      <a:pt x="345217" y="485586"/>
                    </a:lnTo>
                    <a:lnTo>
                      <a:pt x="348906" y="481900"/>
                    </a:lnTo>
                    <a:lnTo>
                      <a:pt x="352595" y="478204"/>
                    </a:lnTo>
                    <a:lnTo>
                      <a:pt x="359974" y="474518"/>
                    </a:lnTo>
                    <a:lnTo>
                      <a:pt x="371041" y="467136"/>
                    </a:lnTo>
                    <a:lnTo>
                      <a:pt x="374730" y="459754"/>
                    </a:lnTo>
                    <a:lnTo>
                      <a:pt x="378420" y="456068"/>
                    </a:lnTo>
                    <a:lnTo>
                      <a:pt x="382109" y="444990"/>
                    </a:lnTo>
                    <a:lnTo>
                      <a:pt x="385798" y="441304"/>
                    </a:lnTo>
                    <a:lnTo>
                      <a:pt x="389487" y="437608"/>
                    </a:lnTo>
                    <a:lnTo>
                      <a:pt x="389487" y="433922"/>
                    </a:lnTo>
                    <a:lnTo>
                      <a:pt x="393176" y="430227"/>
                    </a:lnTo>
                    <a:lnTo>
                      <a:pt x="396865" y="430227"/>
                    </a:lnTo>
                    <a:lnTo>
                      <a:pt x="404244" y="426540"/>
                    </a:lnTo>
                    <a:lnTo>
                      <a:pt x="411622" y="426540"/>
                    </a:lnTo>
                    <a:lnTo>
                      <a:pt x="419000" y="426540"/>
                    </a:lnTo>
                    <a:lnTo>
                      <a:pt x="426379" y="426540"/>
                    </a:lnTo>
                    <a:lnTo>
                      <a:pt x="430068" y="426540"/>
                    </a:lnTo>
                    <a:lnTo>
                      <a:pt x="437446" y="422854"/>
                    </a:lnTo>
                    <a:lnTo>
                      <a:pt x="441136" y="422854"/>
                    </a:lnTo>
                    <a:lnTo>
                      <a:pt x="448515" y="411777"/>
                    </a:lnTo>
                    <a:lnTo>
                      <a:pt x="452204" y="411777"/>
                    </a:lnTo>
                    <a:lnTo>
                      <a:pt x="459582" y="408090"/>
                    </a:lnTo>
                    <a:lnTo>
                      <a:pt x="463271" y="404395"/>
                    </a:lnTo>
                    <a:lnTo>
                      <a:pt x="470650" y="404395"/>
                    </a:lnTo>
                    <a:lnTo>
                      <a:pt x="474339" y="404395"/>
                    </a:lnTo>
                    <a:lnTo>
                      <a:pt x="478028" y="404395"/>
                    </a:lnTo>
                    <a:lnTo>
                      <a:pt x="485406" y="408090"/>
                    </a:lnTo>
                    <a:lnTo>
                      <a:pt x="492784" y="408090"/>
                    </a:lnTo>
                    <a:lnTo>
                      <a:pt x="496474" y="408090"/>
                    </a:lnTo>
                    <a:lnTo>
                      <a:pt x="500163" y="411777"/>
                    </a:lnTo>
                    <a:lnTo>
                      <a:pt x="507541" y="411777"/>
                    </a:lnTo>
                    <a:lnTo>
                      <a:pt x="511230" y="411777"/>
                    </a:lnTo>
                    <a:lnTo>
                      <a:pt x="518609" y="411777"/>
                    </a:lnTo>
                    <a:lnTo>
                      <a:pt x="518609" y="408090"/>
                    </a:lnTo>
                    <a:lnTo>
                      <a:pt x="522298" y="393327"/>
                    </a:lnTo>
                    <a:lnTo>
                      <a:pt x="514919" y="393327"/>
                    </a:lnTo>
                    <a:lnTo>
                      <a:pt x="511230" y="393327"/>
                    </a:lnTo>
                    <a:lnTo>
                      <a:pt x="507541" y="393327"/>
                    </a:lnTo>
                    <a:lnTo>
                      <a:pt x="503852" y="389631"/>
                    </a:lnTo>
                    <a:lnTo>
                      <a:pt x="507541" y="389631"/>
                    </a:lnTo>
                    <a:lnTo>
                      <a:pt x="503852" y="385945"/>
                    </a:lnTo>
                    <a:lnTo>
                      <a:pt x="503852" y="382249"/>
                    </a:lnTo>
                    <a:lnTo>
                      <a:pt x="503852" y="378563"/>
                    </a:lnTo>
                    <a:lnTo>
                      <a:pt x="507541" y="382249"/>
                    </a:lnTo>
                    <a:lnTo>
                      <a:pt x="514919" y="378563"/>
                    </a:lnTo>
                    <a:lnTo>
                      <a:pt x="518609" y="382249"/>
                    </a:lnTo>
                    <a:lnTo>
                      <a:pt x="529676" y="378563"/>
                    </a:lnTo>
                    <a:lnTo>
                      <a:pt x="533365" y="382249"/>
                    </a:lnTo>
                    <a:lnTo>
                      <a:pt x="537054" y="382249"/>
                    </a:lnTo>
                    <a:lnTo>
                      <a:pt x="537054" y="378563"/>
                    </a:lnTo>
                    <a:lnTo>
                      <a:pt x="533365" y="374877"/>
                    </a:lnTo>
                    <a:lnTo>
                      <a:pt x="533365" y="371181"/>
                    </a:lnTo>
                    <a:lnTo>
                      <a:pt x="533365" y="367495"/>
                    </a:lnTo>
                    <a:lnTo>
                      <a:pt x="537054" y="367495"/>
                    </a:lnTo>
                    <a:lnTo>
                      <a:pt x="540744" y="367495"/>
                    </a:lnTo>
                    <a:lnTo>
                      <a:pt x="544433" y="367495"/>
                    </a:lnTo>
                    <a:lnTo>
                      <a:pt x="548122" y="363799"/>
                    </a:lnTo>
                    <a:lnTo>
                      <a:pt x="548122" y="356417"/>
                    </a:lnTo>
                    <a:lnTo>
                      <a:pt x="551811" y="356417"/>
                    </a:lnTo>
                    <a:lnTo>
                      <a:pt x="559189" y="356417"/>
                    </a:lnTo>
                    <a:lnTo>
                      <a:pt x="562879" y="356417"/>
                    </a:lnTo>
                    <a:lnTo>
                      <a:pt x="562879" y="352731"/>
                    </a:lnTo>
                    <a:lnTo>
                      <a:pt x="566568" y="349035"/>
                    </a:lnTo>
                    <a:lnTo>
                      <a:pt x="570257" y="337967"/>
                    </a:lnTo>
                    <a:lnTo>
                      <a:pt x="570257" y="334272"/>
                    </a:lnTo>
                    <a:lnTo>
                      <a:pt x="573946" y="334272"/>
                    </a:lnTo>
                    <a:lnTo>
                      <a:pt x="577635" y="326899"/>
                    </a:lnTo>
                    <a:lnTo>
                      <a:pt x="581324" y="323204"/>
                    </a:lnTo>
                    <a:lnTo>
                      <a:pt x="577635" y="323204"/>
                    </a:lnTo>
                    <a:lnTo>
                      <a:pt x="581324" y="319517"/>
                    </a:lnTo>
                    <a:lnTo>
                      <a:pt x="577635" y="319517"/>
                    </a:lnTo>
                    <a:lnTo>
                      <a:pt x="573946" y="319517"/>
                    </a:lnTo>
                    <a:lnTo>
                      <a:pt x="570257" y="319517"/>
                    </a:lnTo>
                    <a:lnTo>
                      <a:pt x="555500" y="312136"/>
                    </a:lnTo>
                    <a:lnTo>
                      <a:pt x="548122" y="308440"/>
                    </a:lnTo>
                    <a:lnTo>
                      <a:pt x="533365" y="304754"/>
                    </a:lnTo>
                    <a:lnTo>
                      <a:pt x="537054" y="297372"/>
                    </a:lnTo>
                    <a:lnTo>
                      <a:pt x="533365" y="286294"/>
                    </a:lnTo>
                    <a:lnTo>
                      <a:pt x="529676" y="286294"/>
                    </a:lnTo>
                    <a:lnTo>
                      <a:pt x="525987" y="286294"/>
                    </a:lnTo>
                    <a:lnTo>
                      <a:pt x="525987" y="289990"/>
                    </a:lnTo>
                    <a:lnTo>
                      <a:pt x="522298" y="293676"/>
                    </a:lnTo>
                    <a:lnTo>
                      <a:pt x="518609" y="293676"/>
                    </a:lnTo>
                    <a:lnTo>
                      <a:pt x="511230" y="286294"/>
                    </a:lnTo>
                    <a:lnTo>
                      <a:pt x="507541" y="286294"/>
                    </a:lnTo>
                    <a:lnTo>
                      <a:pt x="503852" y="286294"/>
                    </a:lnTo>
                    <a:lnTo>
                      <a:pt x="500163" y="289990"/>
                    </a:lnTo>
                    <a:lnTo>
                      <a:pt x="496474" y="293676"/>
                    </a:lnTo>
                    <a:lnTo>
                      <a:pt x="496474" y="297372"/>
                    </a:lnTo>
                    <a:lnTo>
                      <a:pt x="492784" y="301058"/>
                    </a:lnTo>
                    <a:lnTo>
                      <a:pt x="489095" y="301058"/>
                    </a:lnTo>
                    <a:lnTo>
                      <a:pt x="485406" y="297372"/>
                    </a:lnTo>
                    <a:lnTo>
                      <a:pt x="481717" y="297372"/>
                    </a:lnTo>
                    <a:lnTo>
                      <a:pt x="478028" y="297372"/>
                    </a:lnTo>
                    <a:lnTo>
                      <a:pt x="474339" y="301058"/>
                    </a:lnTo>
                    <a:lnTo>
                      <a:pt x="470650" y="308440"/>
                    </a:lnTo>
                    <a:lnTo>
                      <a:pt x="466960" y="308440"/>
                    </a:lnTo>
                    <a:lnTo>
                      <a:pt x="466960" y="312136"/>
                    </a:lnTo>
                    <a:lnTo>
                      <a:pt x="463271" y="312136"/>
                    </a:lnTo>
                    <a:lnTo>
                      <a:pt x="459582" y="315822"/>
                    </a:lnTo>
                    <a:lnTo>
                      <a:pt x="455893" y="315822"/>
                    </a:lnTo>
                    <a:lnTo>
                      <a:pt x="448515" y="315822"/>
                    </a:lnTo>
                    <a:lnTo>
                      <a:pt x="444825" y="315822"/>
                    </a:lnTo>
                    <a:lnTo>
                      <a:pt x="444825" y="312136"/>
                    </a:lnTo>
                    <a:lnTo>
                      <a:pt x="444825" y="304754"/>
                    </a:lnTo>
                    <a:lnTo>
                      <a:pt x="441136" y="301058"/>
                    </a:lnTo>
                    <a:lnTo>
                      <a:pt x="441136" y="297372"/>
                    </a:lnTo>
                    <a:lnTo>
                      <a:pt x="437446" y="293676"/>
                    </a:lnTo>
                    <a:lnTo>
                      <a:pt x="433757" y="289990"/>
                    </a:lnTo>
                    <a:lnTo>
                      <a:pt x="430068" y="286294"/>
                    </a:lnTo>
                    <a:lnTo>
                      <a:pt x="426379" y="278922"/>
                    </a:lnTo>
                    <a:lnTo>
                      <a:pt x="422689" y="271540"/>
                    </a:lnTo>
                    <a:lnTo>
                      <a:pt x="419000" y="267844"/>
                    </a:lnTo>
                    <a:lnTo>
                      <a:pt x="433757" y="264158"/>
                    </a:lnTo>
                    <a:lnTo>
                      <a:pt x="437446" y="264158"/>
                    </a:lnTo>
                    <a:lnTo>
                      <a:pt x="433757" y="253081"/>
                    </a:lnTo>
                    <a:lnTo>
                      <a:pt x="430068" y="253081"/>
                    </a:lnTo>
                    <a:lnTo>
                      <a:pt x="426379" y="253081"/>
                    </a:lnTo>
                    <a:lnTo>
                      <a:pt x="422689" y="253081"/>
                    </a:lnTo>
                    <a:lnTo>
                      <a:pt x="419000" y="253081"/>
                    </a:lnTo>
                    <a:lnTo>
                      <a:pt x="415311" y="256776"/>
                    </a:lnTo>
                    <a:lnTo>
                      <a:pt x="411622" y="256776"/>
                    </a:lnTo>
                    <a:lnTo>
                      <a:pt x="407933" y="249394"/>
                    </a:lnTo>
                    <a:lnTo>
                      <a:pt x="411622" y="245699"/>
                    </a:lnTo>
                    <a:lnTo>
                      <a:pt x="411622" y="242013"/>
                    </a:lnTo>
                    <a:lnTo>
                      <a:pt x="415311" y="242013"/>
                    </a:lnTo>
                    <a:lnTo>
                      <a:pt x="419000" y="238317"/>
                    </a:lnTo>
                    <a:lnTo>
                      <a:pt x="422689" y="227249"/>
                    </a:lnTo>
                    <a:lnTo>
                      <a:pt x="433757" y="219867"/>
                    </a:lnTo>
                    <a:lnTo>
                      <a:pt x="437446" y="219867"/>
                    </a:lnTo>
                    <a:lnTo>
                      <a:pt x="441136" y="216181"/>
                    </a:lnTo>
                    <a:lnTo>
                      <a:pt x="444825" y="212485"/>
                    </a:lnTo>
                    <a:lnTo>
                      <a:pt x="430068" y="212485"/>
                    </a:lnTo>
                    <a:lnTo>
                      <a:pt x="422689" y="212485"/>
                    </a:lnTo>
                    <a:lnTo>
                      <a:pt x="426379" y="208799"/>
                    </a:lnTo>
                    <a:lnTo>
                      <a:pt x="422689" y="208799"/>
                    </a:lnTo>
                    <a:lnTo>
                      <a:pt x="422689" y="205103"/>
                    </a:lnTo>
                    <a:lnTo>
                      <a:pt x="419000" y="194035"/>
                    </a:lnTo>
                    <a:lnTo>
                      <a:pt x="419000" y="182967"/>
                    </a:lnTo>
                    <a:lnTo>
                      <a:pt x="422689" y="182967"/>
                    </a:lnTo>
                    <a:lnTo>
                      <a:pt x="419000" y="179271"/>
                    </a:lnTo>
                    <a:lnTo>
                      <a:pt x="404244" y="171889"/>
                    </a:lnTo>
                    <a:lnTo>
                      <a:pt x="404244" y="168203"/>
                    </a:lnTo>
                    <a:lnTo>
                      <a:pt x="407933" y="168203"/>
                    </a:lnTo>
                    <a:lnTo>
                      <a:pt x="411622" y="168203"/>
                    </a:lnTo>
                    <a:lnTo>
                      <a:pt x="411622" y="164508"/>
                    </a:lnTo>
                    <a:lnTo>
                      <a:pt x="415311" y="160821"/>
                    </a:lnTo>
                    <a:lnTo>
                      <a:pt x="411622" y="160821"/>
                    </a:lnTo>
                    <a:lnTo>
                      <a:pt x="415311" y="157126"/>
                    </a:lnTo>
                    <a:lnTo>
                      <a:pt x="419000" y="153440"/>
                    </a:lnTo>
                    <a:lnTo>
                      <a:pt x="426379" y="153440"/>
                    </a:lnTo>
                    <a:lnTo>
                      <a:pt x="426379" y="157126"/>
                    </a:lnTo>
                    <a:lnTo>
                      <a:pt x="430068" y="157126"/>
                    </a:lnTo>
                    <a:lnTo>
                      <a:pt x="437446" y="157126"/>
                    </a:lnTo>
                    <a:lnTo>
                      <a:pt x="441136" y="157126"/>
                    </a:lnTo>
                    <a:lnTo>
                      <a:pt x="444825" y="157126"/>
                    </a:lnTo>
                    <a:lnTo>
                      <a:pt x="444825" y="142362"/>
                    </a:lnTo>
                    <a:lnTo>
                      <a:pt x="455893" y="138676"/>
                    </a:lnTo>
                    <a:lnTo>
                      <a:pt x="441136" y="127608"/>
                    </a:lnTo>
                    <a:lnTo>
                      <a:pt x="437446" y="123912"/>
                    </a:lnTo>
                    <a:lnTo>
                      <a:pt x="430068" y="123912"/>
                    </a:lnTo>
                    <a:lnTo>
                      <a:pt x="426379" y="120226"/>
                    </a:lnTo>
                    <a:lnTo>
                      <a:pt x="422689" y="116530"/>
                    </a:lnTo>
                    <a:lnTo>
                      <a:pt x="422689" y="112844"/>
                    </a:lnTo>
                    <a:lnTo>
                      <a:pt x="419000" y="112844"/>
                    </a:lnTo>
                    <a:lnTo>
                      <a:pt x="415311" y="109148"/>
                    </a:lnTo>
                    <a:lnTo>
                      <a:pt x="415311" y="105462"/>
                    </a:lnTo>
                    <a:lnTo>
                      <a:pt x="411622" y="105462"/>
                    </a:lnTo>
                    <a:lnTo>
                      <a:pt x="411622" y="101766"/>
                    </a:lnTo>
                    <a:lnTo>
                      <a:pt x="411622" y="94385"/>
                    </a:lnTo>
                    <a:lnTo>
                      <a:pt x="407933" y="90698"/>
                    </a:lnTo>
                    <a:lnTo>
                      <a:pt x="407933" y="87012"/>
                    </a:lnTo>
                    <a:lnTo>
                      <a:pt x="404244" y="87012"/>
                    </a:lnTo>
                    <a:lnTo>
                      <a:pt x="400554" y="87012"/>
                    </a:lnTo>
                    <a:lnTo>
                      <a:pt x="396865" y="87012"/>
                    </a:lnTo>
                    <a:lnTo>
                      <a:pt x="396865" y="90698"/>
                    </a:lnTo>
                    <a:lnTo>
                      <a:pt x="393176" y="94385"/>
                    </a:lnTo>
                    <a:lnTo>
                      <a:pt x="385798" y="94385"/>
                    </a:lnTo>
                    <a:lnTo>
                      <a:pt x="382109" y="94385"/>
                    </a:lnTo>
                    <a:lnTo>
                      <a:pt x="378420" y="101766"/>
                    </a:lnTo>
                    <a:lnTo>
                      <a:pt x="374730" y="98080"/>
                    </a:lnTo>
                    <a:lnTo>
                      <a:pt x="371041" y="94385"/>
                    </a:lnTo>
                    <a:lnTo>
                      <a:pt x="374730" y="83316"/>
                    </a:lnTo>
                    <a:lnTo>
                      <a:pt x="363663" y="79630"/>
                    </a:lnTo>
                    <a:lnTo>
                      <a:pt x="359974" y="83316"/>
                    </a:lnTo>
                    <a:lnTo>
                      <a:pt x="356285" y="87012"/>
                    </a:lnTo>
                    <a:lnTo>
                      <a:pt x="352595" y="87012"/>
                    </a:lnTo>
                    <a:lnTo>
                      <a:pt x="348906" y="87012"/>
                    </a:lnTo>
                    <a:lnTo>
                      <a:pt x="345217" y="83316"/>
                    </a:lnTo>
                    <a:lnTo>
                      <a:pt x="345217" y="87012"/>
                    </a:lnTo>
                    <a:lnTo>
                      <a:pt x="341528" y="87012"/>
                    </a:lnTo>
                    <a:lnTo>
                      <a:pt x="334150" y="90698"/>
                    </a:lnTo>
                    <a:lnTo>
                      <a:pt x="330460" y="94385"/>
                    </a:lnTo>
                    <a:lnTo>
                      <a:pt x="326771" y="94385"/>
                    </a:lnTo>
                    <a:lnTo>
                      <a:pt x="323082" y="94385"/>
                    </a:lnTo>
                    <a:lnTo>
                      <a:pt x="312015" y="94385"/>
                    </a:lnTo>
                    <a:lnTo>
                      <a:pt x="304636" y="90698"/>
                    </a:lnTo>
                    <a:lnTo>
                      <a:pt x="300947" y="94385"/>
                    </a:lnTo>
                    <a:lnTo>
                      <a:pt x="297258" y="94385"/>
                    </a:lnTo>
                    <a:lnTo>
                      <a:pt x="293568" y="90698"/>
                    </a:lnTo>
                    <a:lnTo>
                      <a:pt x="289879" y="90698"/>
                    </a:lnTo>
                    <a:lnTo>
                      <a:pt x="289879" y="87012"/>
                    </a:lnTo>
                    <a:lnTo>
                      <a:pt x="289879" y="83316"/>
                    </a:lnTo>
                    <a:lnTo>
                      <a:pt x="289879" y="79630"/>
                    </a:lnTo>
                    <a:lnTo>
                      <a:pt x="293568" y="79630"/>
                    </a:lnTo>
                    <a:lnTo>
                      <a:pt x="293568" y="75935"/>
                    </a:lnTo>
                    <a:lnTo>
                      <a:pt x="297258" y="72248"/>
                    </a:lnTo>
                    <a:lnTo>
                      <a:pt x="297258" y="64867"/>
                    </a:lnTo>
                    <a:lnTo>
                      <a:pt x="297258" y="61171"/>
                    </a:lnTo>
                    <a:lnTo>
                      <a:pt x="297258" y="57485"/>
                    </a:lnTo>
                    <a:lnTo>
                      <a:pt x="297258" y="53789"/>
                    </a:lnTo>
                    <a:lnTo>
                      <a:pt x="300947" y="50103"/>
                    </a:lnTo>
                    <a:lnTo>
                      <a:pt x="304636" y="46407"/>
                    </a:lnTo>
                    <a:lnTo>
                      <a:pt x="308326" y="42721"/>
                    </a:lnTo>
                    <a:lnTo>
                      <a:pt x="308326" y="39035"/>
                    </a:lnTo>
                    <a:lnTo>
                      <a:pt x="308326" y="35339"/>
                    </a:lnTo>
                    <a:lnTo>
                      <a:pt x="312015" y="35339"/>
                    </a:lnTo>
                    <a:lnTo>
                      <a:pt x="312015" y="27957"/>
                    </a:lnTo>
                    <a:lnTo>
                      <a:pt x="315704" y="24271"/>
                    </a:lnTo>
                    <a:lnTo>
                      <a:pt x="319393" y="16889"/>
                    </a:lnTo>
                    <a:lnTo>
                      <a:pt x="312015" y="13193"/>
                    </a:lnTo>
                    <a:lnTo>
                      <a:pt x="308326" y="13193"/>
                    </a:lnTo>
                    <a:lnTo>
                      <a:pt x="304636" y="13193"/>
                    </a:lnTo>
                    <a:lnTo>
                      <a:pt x="300947" y="16889"/>
                    </a:lnTo>
                    <a:lnTo>
                      <a:pt x="297258" y="13193"/>
                    </a:lnTo>
                    <a:lnTo>
                      <a:pt x="297258" y="20575"/>
                    </a:lnTo>
                    <a:lnTo>
                      <a:pt x="286190" y="16889"/>
                    </a:lnTo>
                    <a:lnTo>
                      <a:pt x="260365" y="5812"/>
                    </a:lnTo>
                    <a:close/>
                    <a:moveTo>
                      <a:pt x="42704" y="389631"/>
                    </a:moveTo>
                    <a:lnTo>
                      <a:pt x="39015" y="393327"/>
                    </a:lnTo>
                    <a:lnTo>
                      <a:pt x="42704" y="393327"/>
                    </a:lnTo>
                    <a:lnTo>
                      <a:pt x="42704" y="389631"/>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30" name="Google Shape;448;p2">
                <a:extLst>
                  <a:ext uri="{FF2B5EF4-FFF2-40B4-BE49-F238E27FC236}">
                    <a16:creationId xmlns:a16="http://schemas.microsoft.com/office/drawing/2014/main" id="{3A419D59-5500-4AAF-924C-3026D232EB9F}"/>
                  </a:ext>
                </a:extLst>
              </p:cNvPr>
              <p:cNvSpPr/>
              <p:nvPr/>
            </p:nvSpPr>
            <p:spPr>
              <a:xfrm>
                <a:off x="1714569" y="4334716"/>
                <a:ext cx="43320" cy="21660"/>
              </a:xfrm>
              <a:custGeom>
                <a:avLst/>
                <a:gdLst/>
                <a:ahLst/>
                <a:cxnLst/>
                <a:rect l="l" t="t" r="r" b="b"/>
                <a:pathLst>
                  <a:path w="19050" h="9525" extrusionOk="0">
                    <a:moveTo>
                      <a:pt x="16880" y="5812"/>
                    </a:moveTo>
                    <a:lnTo>
                      <a:pt x="13191" y="9498"/>
                    </a:lnTo>
                    <a:lnTo>
                      <a:pt x="9501" y="9498"/>
                    </a:lnTo>
                    <a:lnTo>
                      <a:pt x="5812" y="9498"/>
                    </a:lnTo>
                    <a:lnTo>
                      <a:pt x="5812" y="5812"/>
                    </a:lnTo>
                    <a:lnTo>
                      <a:pt x="9501" y="5812"/>
                    </a:lnTo>
                    <a:lnTo>
                      <a:pt x="13191" y="5812"/>
                    </a:lnTo>
                    <a:lnTo>
                      <a:pt x="20569" y="5812"/>
                    </a:lnTo>
                    <a:lnTo>
                      <a:pt x="16880"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31" name="Google Shape;449;p2">
                <a:extLst>
                  <a:ext uri="{FF2B5EF4-FFF2-40B4-BE49-F238E27FC236}">
                    <a16:creationId xmlns:a16="http://schemas.microsoft.com/office/drawing/2014/main" id="{535C427E-4DE8-476A-A7DA-ECBC38A661A0}"/>
                  </a:ext>
                </a:extLst>
              </p:cNvPr>
              <p:cNvSpPr/>
              <p:nvPr/>
            </p:nvSpPr>
            <p:spPr>
              <a:xfrm>
                <a:off x="1681016" y="4250782"/>
                <a:ext cx="86640" cy="64980"/>
              </a:xfrm>
              <a:custGeom>
                <a:avLst/>
                <a:gdLst/>
                <a:ahLst/>
                <a:cxnLst/>
                <a:rect l="l" t="t" r="r" b="b"/>
                <a:pathLst>
                  <a:path w="38100" h="28575" extrusionOk="0">
                    <a:moveTo>
                      <a:pt x="31636" y="16880"/>
                    </a:moveTo>
                    <a:lnTo>
                      <a:pt x="35325" y="20575"/>
                    </a:lnTo>
                    <a:lnTo>
                      <a:pt x="35325" y="20575"/>
                    </a:lnTo>
                    <a:lnTo>
                      <a:pt x="31636" y="16880"/>
                    </a:lnTo>
                    <a:lnTo>
                      <a:pt x="24257" y="16880"/>
                    </a:lnTo>
                    <a:lnTo>
                      <a:pt x="16879" y="20575"/>
                    </a:lnTo>
                    <a:lnTo>
                      <a:pt x="9501" y="24261"/>
                    </a:lnTo>
                    <a:lnTo>
                      <a:pt x="5812" y="24261"/>
                    </a:lnTo>
                    <a:lnTo>
                      <a:pt x="5812" y="20575"/>
                    </a:lnTo>
                    <a:lnTo>
                      <a:pt x="5812" y="20575"/>
                    </a:lnTo>
                    <a:lnTo>
                      <a:pt x="13190" y="16880"/>
                    </a:lnTo>
                    <a:lnTo>
                      <a:pt x="13190" y="13193"/>
                    </a:lnTo>
                    <a:lnTo>
                      <a:pt x="16879" y="9498"/>
                    </a:lnTo>
                    <a:lnTo>
                      <a:pt x="20568" y="5812"/>
                    </a:lnTo>
                    <a:lnTo>
                      <a:pt x="20568" y="9498"/>
                    </a:lnTo>
                    <a:lnTo>
                      <a:pt x="24257" y="9498"/>
                    </a:lnTo>
                    <a:lnTo>
                      <a:pt x="31636" y="16880"/>
                    </a:lnTo>
                    <a:lnTo>
                      <a:pt x="31636" y="16880"/>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32" name="Google Shape;450;p2">
                <a:extLst>
                  <a:ext uri="{FF2B5EF4-FFF2-40B4-BE49-F238E27FC236}">
                    <a16:creationId xmlns:a16="http://schemas.microsoft.com/office/drawing/2014/main" id="{9AA7DA29-9A1B-4A34-B765-E39EAD1DE5FB}"/>
                  </a:ext>
                </a:extLst>
              </p:cNvPr>
              <p:cNvSpPr/>
              <p:nvPr/>
            </p:nvSpPr>
            <p:spPr>
              <a:xfrm>
                <a:off x="1605510" y="4150060"/>
                <a:ext cx="649800" cy="368220"/>
              </a:xfrm>
              <a:custGeom>
                <a:avLst/>
                <a:gdLst/>
                <a:ahLst/>
                <a:cxnLst/>
                <a:rect l="l" t="t" r="r" b="b"/>
                <a:pathLst>
                  <a:path w="285750" h="161925" extrusionOk="0">
                    <a:moveTo>
                      <a:pt x="90663" y="5812"/>
                    </a:moveTo>
                    <a:lnTo>
                      <a:pt x="83285" y="9507"/>
                    </a:lnTo>
                    <a:lnTo>
                      <a:pt x="90663" y="9507"/>
                    </a:lnTo>
                    <a:lnTo>
                      <a:pt x="90663" y="5812"/>
                    </a:lnTo>
                    <a:close/>
                    <a:moveTo>
                      <a:pt x="90663" y="9507"/>
                    </a:moveTo>
                    <a:lnTo>
                      <a:pt x="79595" y="13194"/>
                    </a:lnTo>
                    <a:lnTo>
                      <a:pt x="75906" y="13194"/>
                    </a:lnTo>
                    <a:lnTo>
                      <a:pt x="72217" y="13194"/>
                    </a:lnTo>
                    <a:lnTo>
                      <a:pt x="79595" y="9507"/>
                    </a:lnTo>
                    <a:lnTo>
                      <a:pt x="68528" y="13194"/>
                    </a:lnTo>
                    <a:lnTo>
                      <a:pt x="46393" y="20575"/>
                    </a:lnTo>
                    <a:lnTo>
                      <a:pt x="39015" y="24271"/>
                    </a:lnTo>
                    <a:lnTo>
                      <a:pt x="35326" y="24271"/>
                    </a:lnTo>
                    <a:lnTo>
                      <a:pt x="24258" y="27957"/>
                    </a:lnTo>
                    <a:lnTo>
                      <a:pt x="20569" y="27957"/>
                    </a:lnTo>
                    <a:lnTo>
                      <a:pt x="16880" y="35339"/>
                    </a:lnTo>
                    <a:lnTo>
                      <a:pt x="16880" y="39035"/>
                    </a:lnTo>
                    <a:lnTo>
                      <a:pt x="16880" y="42721"/>
                    </a:lnTo>
                    <a:lnTo>
                      <a:pt x="20569" y="53789"/>
                    </a:lnTo>
                    <a:lnTo>
                      <a:pt x="20569" y="57485"/>
                    </a:lnTo>
                    <a:lnTo>
                      <a:pt x="24258" y="57485"/>
                    </a:lnTo>
                    <a:lnTo>
                      <a:pt x="24258" y="61171"/>
                    </a:lnTo>
                    <a:lnTo>
                      <a:pt x="27947" y="61171"/>
                    </a:lnTo>
                    <a:lnTo>
                      <a:pt x="35326" y="57485"/>
                    </a:lnTo>
                    <a:lnTo>
                      <a:pt x="35326" y="53789"/>
                    </a:lnTo>
                    <a:lnTo>
                      <a:pt x="31636" y="53789"/>
                    </a:lnTo>
                    <a:lnTo>
                      <a:pt x="31636" y="50103"/>
                    </a:lnTo>
                    <a:lnTo>
                      <a:pt x="35326" y="50103"/>
                    </a:lnTo>
                    <a:lnTo>
                      <a:pt x="39015" y="50103"/>
                    </a:lnTo>
                    <a:lnTo>
                      <a:pt x="42704" y="50103"/>
                    </a:lnTo>
                    <a:lnTo>
                      <a:pt x="46393" y="46417"/>
                    </a:lnTo>
                    <a:lnTo>
                      <a:pt x="50082" y="46417"/>
                    </a:lnTo>
                    <a:lnTo>
                      <a:pt x="53771" y="46417"/>
                    </a:lnTo>
                    <a:lnTo>
                      <a:pt x="57460" y="46417"/>
                    </a:lnTo>
                    <a:lnTo>
                      <a:pt x="61150" y="42721"/>
                    </a:lnTo>
                    <a:lnTo>
                      <a:pt x="64839" y="39035"/>
                    </a:lnTo>
                    <a:lnTo>
                      <a:pt x="72217" y="42721"/>
                    </a:lnTo>
                    <a:lnTo>
                      <a:pt x="79595" y="42721"/>
                    </a:lnTo>
                    <a:lnTo>
                      <a:pt x="86974" y="46417"/>
                    </a:lnTo>
                    <a:lnTo>
                      <a:pt x="86974" y="50103"/>
                    </a:lnTo>
                    <a:lnTo>
                      <a:pt x="90663" y="53789"/>
                    </a:lnTo>
                    <a:lnTo>
                      <a:pt x="94352" y="61171"/>
                    </a:lnTo>
                    <a:lnTo>
                      <a:pt x="98041" y="61171"/>
                    </a:lnTo>
                    <a:lnTo>
                      <a:pt x="98041" y="68553"/>
                    </a:lnTo>
                    <a:lnTo>
                      <a:pt x="98041" y="72248"/>
                    </a:lnTo>
                    <a:lnTo>
                      <a:pt x="94352" y="72248"/>
                    </a:lnTo>
                    <a:lnTo>
                      <a:pt x="94352" y="75935"/>
                    </a:lnTo>
                    <a:lnTo>
                      <a:pt x="98041" y="75935"/>
                    </a:lnTo>
                    <a:lnTo>
                      <a:pt x="94352" y="79630"/>
                    </a:lnTo>
                    <a:lnTo>
                      <a:pt x="94352" y="83317"/>
                    </a:lnTo>
                    <a:lnTo>
                      <a:pt x="98041" y="90698"/>
                    </a:lnTo>
                    <a:lnTo>
                      <a:pt x="101730" y="90698"/>
                    </a:lnTo>
                    <a:lnTo>
                      <a:pt x="101730" y="94394"/>
                    </a:lnTo>
                    <a:lnTo>
                      <a:pt x="105420" y="98080"/>
                    </a:lnTo>
                    <a:lnTo>
                      <a:pt x="105420" y="101766"/>
                    </a:lnTo>
                    <a:lnTo>
                      <a:pt x="109109" y="109148"/>
                    </a:lnTo>
                    <a:lnTo>
                      <a:pt x="109109" y="116530"/>
                    </a:lnTo>
                    <a:lnTo>
                      <a:pt x="112798" y="116530"/>
                    </a:lnTo>
                    <a:lnTo>
                      <a:pt x="116487" y="116530"/>
                    </a:lnTo>
                    <a:lnTo>
                      <a:pt x="120176" y="120226"/>
                    </a:lnTo>
                    <a:lnTo>
                      <a:pt x="123865" y="116530"/>
                    </a:lnTo>
                    <a:lnTo>
                      <a:pt x="123865" y="120226"/>
                    </a:lnTo>
                    <a:lnTo>
                      <a:pt x="131244" y="120226"/>
                    </a:lnTo>
                    <a:lnTo>
                      <a:pt x="138622" y="120226"/>
                    </a:lnTo>
                    <a:lnTo>
                      <a:pt x="142311" y="120226"/>
                    </a:lnTo>
                    <a:lnTo>
                      <a:pt x="146001" y="120226"/>
                    </a:lnTo>
                    <a:lnTo>
                      <a:pt x="149690" y="123912"/>
                    </a:lnTo>
                    <a:lnTo>
                      <a:pt x="160758" y="127608"/>
                    </a:lnTo>
                    <a:lnTo>
                      <a:pt x="164447" y="134990"/>
                    </a:lnTo>
                    <a:lnTo>
                      <a:pt x="168136" y="138676"/>
                    </a:lnTo>
                    <a:lnTo>
                      <a:pt x="175515" y="138676"/>
                    </a:lnTo>
                    <a:lnTo>
                      <a:pt x="179204" y="138676"/>
                    </a:lnTo>
                    <a:lnTo>
                      <a:pt x="179204" y="142372"/>
                    </a:lnTo>
                    <a:lnTo>
                      <a:pt x="186582" y="142372"/>
                    </a:lnTo>
                    <a:lnTo>
                      <a:pt x="190271" y="146058"/>
                    </a:lnTo>
                    <a:lnTo>
                      <a:pt x="193960" y="146058"/>
                    </a:lnTo>
                    <a:lnTo>
                      <a:pt x="193960" y="149744"/>
                    </a:lnTo>
                    <a:lnTo>
                      <a:pt x="193960" y="153440"/>
                    </a:lnTo>
                    <a:lnTo>
                      <a:pt x="201339" y="157126"/>
                    </a:lnTo>
                    <a:lnTo>
                      <a:pt x="205028" y="160821"/>
                    </a:lnTo>
                    <a:lnTo>
                      <a:pt x="216095" y="160821"/>
                    </a:lnTo>
                    <a:lnTo>
                      <a:pt x="219785" y="160821"/>
                    </a:lnTo>
                    <a:lnTo>
                      <a:pt x="223474" y="160821"/>
                    </a:lnTo>
                    <a:lnTo>
                      <a:pt x="230852" y="157126"/>
                    </a:lnTo>
                    <a:lnTo>
                      <a:pt x="238230" y="157126"/>
                    </a:lnTo>
                    <a:lnTo>
                      <a:pt x="241919" y="157126"/>
                    </a:lnTo>
                    <a:lnTo>
                      <a:pt x="252987" y="153440"/>
                    </a:lnTo>
                    <a:lnTo>
                      <a:pt x="260365" y="149744"/>
                    </a:lnTo>
                    <a:lnTo>
                      <a:pt x="264054" y="146058"/>
                    </a:lnTo>
                    <a:lnTo>
                      <a:pt x="267744" y="138676"/>
                    </a:lnTo>
                    <a:lnTo>
                      <a:pt x="267744" y="134990"/>
                    </a:lnTo>
                    <a:lnTo>
                      <a:pt x="264054" y="134990"/>
                    </a:lnTo>
                    <a:lnTo>
                      <a:pt x="264054" y="131294"/>
                    </a:lnTo>
                    <a:lnTo>
                      <a:pt x="267744" y="131294"/>
                    </a:lnTo>
                    <a:lnTo>
                      <a:pt x="271433" y="131294"/>
                    </a:lnTo>
                    <a:lnTo>
                      <a:pt x="275122" y="131294"/>
                    </a:lnTo>
                    <a:lnTo>
                      <a:pt x="278811" y="131294"/>
                    </a:lnTo>
                    <a:lnTo>
                      <a:pt x="286189" y="127608"/>
                    </a:lnTo>
                    <a:lnTo>
                      <a:pt x="282500" y="127608"/>
                    </a:lnTo>
                    <a:lnTo>
                      <a:pt x="282500" y="123912"/>
                    </a:lnTo>
                    <a:lnTo>
                      <a:pt x="282500" y="120226"/>
                    </a:lnTo>
                    <a:lnTo>
                      <a:pt x="278811" y="120226"/>
                    </a:lnTo>
                    <a:lnTo>
                      <a:pt x="275122" y="123912"/>
                    </a:lnTo>
                    <a:lnTo>
                      <a:pt x="267744" y="123912"/>
                    </a:lnTo>
                    <a:lnTo>
                      <a:pt x="260365" y="123912"/>
                    </a:lnTo>
                    <a:lnTo>
                      <a:pt x="252987" y="123912"/>
                    </a:lnTo>
                    <a:lnTo>
                      <a:pt x="249298" y="123912"/>
                    </a:lnTo>
                    <a:lnTo>
                      <a:pt x="241919" y="123912"/>
                    </a:lnTo>
                    <a:lnTo>
                      <a:pt x="234541" y="112844"/>
                    </a:lnTo>
                    <a:lnTo>
                      <a:pt x="227163" y="112844"/>
                    </a:lnTo>
                    <a:lnTo>
                      <a:pt x="223474" y="109148"/>
                    </a:lnTo>
                    <a:lnTo>
                      <a:pt x="219785" y="109148"/>
                    </a:lnTo>
                    <a:lnTo>
                      <a:pt x="216095" y="105462"/>
                    </a:lnTo>
                    <a:lnTo>
                      <a:pt x="216095" y="101766"/>
                    </a:lnTo>
                    <a:lnTo>
                      <a:pt x="208717" y="98080"/>
                    </a:lnTo>
                    <a:lnTo>
                      <a:pt x="208717" y="94394"/>
                    </a:lnTo>
                    <a:lnTo>
                      <a:pt x="208717" y="90698"/>
                    </a:lnTo>
                    <a:lnTo>
                      <a:pt x="205028" y="90698"/>
                    </a:lnTo>
                    <a:lnTo>
                      <a:pt x="193960" y="79630"/>
                    </a:lnTo>
                    <a:lnTo>
                      <a:pt x="182893" y="68553"/>
                    </a:lnTo>
                    <a:lnTo>
                      <a:pt x="179204" y="68553"/>
                    </a:lnTo>
                    <a:lnTo>
                      <a:pt x="179204" y="64867"/>
                    </a:lnTo>
                    <a:lnTo>
                      <a:pt x="171825" y="64867"/>
                    </a:lnTo>
                    <a:lnTo>
                      <a:pt x="168136" y="61171"/>
                    </a:lnTo>
                    <a:lnTo>
                      <a:pt x="164447" y="61171"/>
                    </a:lnTo>
                    <a:lnTo>
                      <a:pt x="157069" y="53789"/>
                    </a:lnTo>
                    <a:lnTo>
                      <a:pt x="149690" y="50103"/>
                    </a:lnTo>
                    <a:lnTo>
                      <a:pt x="146001" y="50103"/>
                    </a:lnTo>
                    <a:lnTo>
                      <a:pt x="131244" y="42721"/>
                    </a:lnTo>
                    <a:lnTo>
                      <a:pt x="127555" y="39035"/>
                    </a:lnTo>
                    <a:lnTo>
                      <a:pt x="116487" y="35339"/>
                    </a:lnTo>
                    <a:lnTo>
                      <a:pt x="116487" y="31653"/>
                    </a:lnTo>
                    <a:lnTo>
                      <a:pt x="112798" y="27957"/>
                    </a:lnTo>
                    <a:lnTo>
                      <a:pt x="109109" y="27957"/>
                    </a:lnTo>
                    <a:lnTo>
                      <a:pt x="109109" y="31653"/>
                    </a:lnTo>
                    <a:lnTo>
                      <a:pt x="105420" y="27957"/>
                    </a:lnTo>
                    <a:lnTo>
                      <a:pt x="109109" y="27957"/>
                    </a:lnTo>
                    <a:lnTo>
                      <a:pt x="109109" y="24271"/>
                    </a:lnTo>
                    <a:lnTo>
                      <a:pt x="109109" y="20575"/>
                    </a:lnTo>
                    <a:lnTo>
                      <a:pt x="105420" y="20575"/>
                    </a:lnTo>
                    <a:lnTo>
                      <a:pt x="105420" y="24271"/>
                    </a:lnTo>
                    <a:lnTo>
                      <a:pt x="101730" y="24271"/>
                    </a:lnTo>
                    <a:lnTo>
                      <a:pt x="101730" y="20575"/>
                    </a:lnTo>
                    <a:lnTo>
                      <a:pt x="94352" y="16889"/>
                    </a:lnTo>
                    <a:lnTo>
                      <a:pt x="94352" y="13194"/>
                    </a:lnTo>
                    <a:lnTo>
                      <a:pt x="90663" y="9507"/>
                    </a:lnTo>
                    <a:close/>
                    <a:moveTo>
                      <a:pt x="20569" y="61171"/>
                    </a:moveTo>
                    <a:lnTo>
                      <a:pt x="16880" y="68553"/>
                    </a:lnTo>
                    <a:lnTo>
                      <a:pt x="13191" y="72248"/>
                    </a:lnTo>
                    <a:lnTo>
                      <a:pt x="5812" y="75935"/>
                    </a:lnTo>
                    <a:lnTo>
                      <a:pt x="9501" y="75935"/>
                    </a:lnTo>
                    <a:lnTo>
                      <a:pt x="16880" y="79630"/>
                    </a:lnTo>
                    <a:lnTo>
                      <a:pt x="20569" y="83317"/>
                    </a:lnTo>
                    <a:lnTo>
                      <a:pt x="24258" y="83317"/>
                    </a:lnTo>
                    <a:lnTo>
                      <a:pt x="24258" y="79630"/>
                    </a:lnTo>
                    <a:lnTo>
                      <a:pt x="20569" y="75935"/>
                    </a:lnTo>
                    <a:lnTo>
                      <a:pt x="16880" y="72248"/>
                    </a:lnTo>
                    <a:lnTo>
                      <a:pt x="20569" y="61171"/>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33" name="Google Shape;451;p2">
                <a:extLst>
                  <a:ext uri="{FF2B5EF4-FFF2-40B4-BE49-F238E27FC236}">
                    <a16:creationId xmlns:a16="http://schemas.microsoft.com/office/drawing/2014/main" id="{27FE4C1E-C6AA-4703-AE14-7FAB4C52B04D}"/>
                  </a:ext>
                </a:extLst>
              </p:cNvPr>
              <p:cNvSpPr/>
              <p:nvPr/>
            </p:nvSpPr>
            <p:spPr>
              <a:xfrm>
                <a:off x="2075308" y="4326307"/>
                <a:ext cx="129960" cy="64980"/>
              </a:xfrm>
              <a:custGeom>
                <a:avLst/>
                <a:gdLst/>
                <a:ahLst/>
                <a:cxnLst/>
                <a:rect l="l" t="t" r="r" b="b"/>
                <a:pathLst>
                  <a:path w="57150" h="28575" extrusionOk="0">
                    <a:moveTo>
                      <a:pt x="27947" y="9507"/>
                    </a:moveTo>
                    <a:lnTo>
                      <a:pt x="35325" y="13193"/>
                    </a:lnTo>
                    <a:lnTo>
                      <a:pt x="46393" y="16889"/>
                    </a:lnTo>
                    <a:lnTo>
                      <a:pt x="53771" y="20575"/>
                    </a:lnTo>
                    <a:lnTo>
                      <a:pt x="53771" y="20575"/>
                    </a:lnTo>
                    <a:lnTo>
                      <a:pt x="57460" y="24261"/>
                    </a:lnTo>
                    <a:lnTo>
                      <a:pt x="53771" y="24261"/>
                    </a:lnTo>
                    <a:lnTo>
                      <a:pt x="53771" y="24261"/>
                    </a:lnTo>
                    <a:lnTo>
                      <a:pt x="46393" y="27957"/>
                    </a:lnTo>
                    <a:lnTo>
                      <a:pt x="35325" y="27957"/>
                    </a:lnTo>
                    <a:lnTo>
                      <a:pt x="31636" y="27957"/>
                    </a:lnTo>
                    <a:lnTo>
                      <a:pt x="27947" y="24261"/>
                    </a:lnTo>
                    <a:lnTo>
                      <a:pt x="24258" y="20575"/>
                    </a:lnTo>
                    <a:lnTo>
                      <a:pt x="24258" y="20575"/>
                    </a:lnTo>
                    <a:lnTo>
                      <a:pt x="20569" y="20575"/>
                    </a:lnTo>
                    <a:lnTo>
                      <a:pt x="13191" y="13193"/>
                    </a:lnTo>
                    <a:lnTo>
                      <a:pt x="9501" y="13193"/>
                    </a:lnTo>
                    <a:lnTo>
                      <a:pt x="5812" y="9507"/>
                    </a:lnTo>
                    <a:lnTo>
                      <a:pt x="5812" y="9507"/>
                    </a:lnTo>
                    <a:lnTo>
                      <a:pt x="5812" y="9507"/>
                    </a:lnTo>
                    <a:lnTo>
                      <a:pt x="9501" y="5812"/>
                    </a:lnTo>
                    <a:lnTo>
                      <a:pt x="9501" y="5812"/>
                    </a:lnTo>
                    <a:lnTo>
                      <a:pt x="16880" y="5812"/>
                    </a:lnTo>
                    <a:lnTo>
                      <a:pt x="27947" y="9507"/>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34" name="Google Shape;452;p2">
                <a:extLst>
                  <a:ext uri="{FF2B5EF4-FFF2-40B4-BE49-F238E27FC236}">
                    <a16:creationId xmlns:a16="http://schemas.microsoft.com/office/drawing/2014/main" id="{D5603A1C-1BCF-43F1-904C-42C9E5B37F5B}"/>
                  </a:ext>
                </a:extLst>
              </p:cNvPr>
              <p:cNvSpPr/>
              <p:nvPr/>
            </p:nvSpPr>
            <p:spPr>
              <a:xfrm>
                <a:off x="1764907" y="4309520"/>
                <a:ext cx="64980" cy="86640"/>
              </a:xfrm>
              <a:custGeom>
                <a:avLst/>
                <a:gdLst/>
                <a:ahLst/>
                <a:cxnLst/>
                <a:rect l="l" t="t" r="r" b="b"/>
                <a:pathLst>
                  <a:path w="28575" h="38100" extrusionOk="0">
                    <a:moveTo>
                      <a:pt x="5812" y="9507"/>
                    </a:moveTo>
                    <a:lnTo>
                      <a:pt x="9501" y="9507"/>
                    </a:lnTo>
                    <a:lnTo>
                      <a:pt x="13191" y="5812"/>
                    </a:lnTo>
                    <a:lnTo>
                      <a:pt x="13191" y="5812"/>
                    </a:lnTo>
                    <a:lnTo>
                      <a:pt x="13191" y="9507"/>
                    </a:lnTo>
                    <a:lnTo>
                      <a:pt x="13191" y="13194"/>
                    </a:lnTo>
                    <a:lnTo>
                      <a:pt x="16880" y="24271"/>
                    </a:lnTo>
                    <a:lnTo>
                      <a:pt x="24258" y="31643"/>
                    </a:lnTo>
                    <a:lnTo>
                      <a:pt x="24258" y="31643"/>
                    </a:lnTo>
                    <a:lnTo>
                      <a:pt x="24258" y="31643"/>
                    </a:lnTo>
                    <a:lnTo>
                      <a:pt x="20569" y="35339"/>
                    </a:lnTo>
                    <a:lnTo>
                      <a:pt x="16880" y="35339"/>
                    </a:lnTo>
                    <a:lnTo>
                      <a:pt x="16880" y="31643"/>
                    </a:lnTo>
                    <a:lnTo>
                      <a:pt x="13191" y="27957"/>
                    </a:lnTo>
                    <a:lnTo>
                      <a:pt x="13191" y="24271"/>
                    </a:lnTo>
                    <a:lnTo>
                      <a:pt x="9501" y="16889"/>
                    </a:lnTo>
                    <a:lnTo>
                      <a:pt x="5812" y="13194"/>
                    </a:lnTo>
                    <a:lnTo>
                      <a:pt x="5812" y="13194"/>
                    </a:lnTo>
                    <a:lnTo>
                      <a:pt x="5812" y="9507"/>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35" name="Google Shape;453;p2">
                <a:extLst>
                  <a:ext uri="{FF2B5EF4-FFF2-40B4-BE49-F238E27FC236}">
                    <a16:creationId xmlns:a16="http://schemas.microsoft.com/office/drawing/2014/main" id="{8FBA85FE-70B9-4912-ACFD-CB5FEBE3B757}"/>
                  </a:ext>
                </a:extLst>
              </p:cNvPr>
              <p:cNvSpPr/>
              <p:nvPr/>
            </p:nvSpPr>
            <p:spPr>
              <a:xfrm>
                <a:off x="2226316" y="4427025"/>
                <a:ext cx="21660" cy="21660"/>
              </a:xfrm>
              <a:custGeom>
                <a:avLst/>
                <a:gdLst/>
                <a:ahLst/>
                <a:cxnLst/>
                <a:rect l="l" t="t" r="r" b="b"/>
                <a:pathLst>
                  <a:path w="9525" h="9525" extrusionOk="0">
                    <a:moveTo>
                      <a:pt x="13190" y="5812"/>
                    </a:moveTo>
                    <a:lnTo>
                      <a:pt x="9501" y="9498"/>
                    </a:lnTo>
                    <a:lnTo>
                      <a:pt x="9501" y="9498"/>
                    </a:lnTo>
                    <a:lnTo>
                      <a:pt x="13190" y="9498"/>
                    </a:lnTo>
                    <a:lnTo>
                      <a:pt x="13190" y="9498"/>
                    </a:lnTo>
                    <a:lnTo>
                      <a:pt x="9501" y="9498"/>
                    </a:lnTo>
                    <a:lnTo>
                      <a:pt x="9501" y="13194"/>
                    </a:lnTo>
                    <a:lnTo>
                      <a:pt x="5812" y="9498"/>
                    </a:lnTo>
                    <a:lnTo>
                      <a:pt x="5812" y="9498"/>
                    </a:lnTo>
                    <a:lnTo>
                      <a:pt x="5812" y="9498"/>
                    </a:lnTo>
                    <a:lnTo>
                      <a:pt x="13190"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grpSp>
        <p:sp>
          <p:nvSpPr>
            <p:cNvPr id="27" name="Google Shape;454;p2">
              <a:extLst>
                <a:ext uri="{FF2B5EF4-FFF2-40B4-BE49-F238E27FC236}">
                  <a16:creationId xmlns:a16="http://schemas.microsoft.com/office/drawing/2014/main" id="{C4F66A46-F167-4821-AF9F-FE8F3EA142C2}"/>
                </a:ext>
              </a:extLst>
            </p:cNvPr>
            <p:cNvSpPr/>
            <p:nvPr/>
          </p:nvSpPr>
          <p:spPr>
            <a:xfrm>
              <a:off x="1999804" y="4200420"/>
              <a:ext cx="2101016" cy="1104657"/>
            </a:xfrm>
            <a:custGeom>
              <a:avLst/>
              <a:gdLst/>
              <a:ahLst/>
              <a:cxnLst/>
              <a:rect l="l" t="t" r="r" b="b"/>
              <a:pathLst>
                <a:path w="923925" h="485775" extrusionOk="0">
                  <a:moveTo>
                    <a:pt x="363662" y="5812"/>
                  </a:moveTo>
                  <a:lnTo>
                    <a:pt x="359973" y="9507"/>
                  </a:lnTo>
                  <a:lnTo>
                    <a:pt x="352595" y="13194"/>
                  </a:lnTo>
                  <a:lnTo>
                    <a:pt x="348906" y="13194"/>
                  </a:lnTo>
                  <a:lnTo>
                    <a:pt x="341527" y="24271"/>
                  </a:lnTo>
                  <a:lnTo>
                    <a:pt x="337838" y="24271"/>
                  </a:lnTo>
                  <a:lnTo>
                    <a:pt x="330460" y="27957"/>
                  </a:lnTo>
                  <a:lnTo>
                    <a:pt x="326771" y="27957"/>
                  </a:lnTo>
                  <a:lnTo>
                    <a:pt x="319392" y="27957"/>
                  </a:lnTo>
                  <a:lnTo>
                    <a:pt x="312014" y="27957"/>
                  </a:lnTo>
                  <a:lnTo>
                    <a:pt x="304636" y="27957"/>
                  </a:lnTo>
                  <a:lnTo>
                    <a:pt x="297257" y="31643"/>
                  </a:lnTo>
                  <a:lnTo>
                    <a:pt x="293568" y="31643"/>
                  </a:lnTo>
                  <a:lnTo>
                    <a:pt x="289878" y="35339"/>
                  </a:lnTo>
                  <a:lnTo>
                    <a:pt x="289878" y="39025"/>
                  </a:lnTo>
                  <a:lnTo>
                    <a:pt x="286189" y="42721"/>
                  </a:lnTo>
                  <a:lnTo>
                    <a:pt x="282500" y="46407"/>
                  </a:lnTo>
                  <a:lnTo>
                    <a:pt x="278811" y="57485"/>
                  </a:lnTo>
                  <a:lnTo>
                    <a:pt x="275121" y="61171"/>
                  </a:lnTo>
                  <a:lnTo>
                    <a:pt x="271432" y="68553"/>
                  </a:lnTo>
                  <a:lnTo>
                    <a:pt x="260365" y="75935"/>
                  </a:lnTo>
                  <a:lnTo>
                    <a:pt x="252986" y="79621"/>
                  </a:lnTo>
                  <a:lnTo>
                    <a:pt x="249297" y="83317"/>
                  </a:lnTo>
                  <a:lnTo>
                    <a:pt x="245608" y="87003"/>
                  </a:lnTo>
                  <a:lnTo>
                    <a:pt x="230851" y="90698"/>
                  </a:lnTo>
                  <a:lnTo>
                    <a:pt x="230851" y="94385"/>
                  </a:lnTo>
                  <a:lnTo>
                    <a:pt x="223473" y="98080"/>
                  </a:lnTo>
                  <a:lnTo>
                    <a:pt x="219784" y="101766"/>
                  </a:lnTo>
                  <a:lnTo>
                    <a:pt x="216095" y="101766"/>
                  </a:lnTo>
                  <a:lnTo>
                    <a:pt x="212406" y="105462"/>
                  </a:lnTo>
                  <a:lnTo>
                    <a:pt x="208717" y="109148"/>
                  </a:lnTo>
                  <a:lnTo>
                    <a:pt x="179203" y="116530"/>
                  </a:lnTo>
                  <a:lnTo>
                    <a:pt x="175514" y="116530"/>
                  </a:lnTo>
                  <a:lnTo>
                    <a:pt x="171825" y="116530"/>
                  </a:lnTo>
                  <a:lnTo>
                    <a:pt x="160757" y="120226"/>
                  </a:lnTo>
                  <a:lnTo>
                    <a:pt x="153379" y="120226"/>
                  </a:lnTo>
                  <a:lnTo>
                    <a:pt x="142311" y="116530"/>
                  </a:lnTo>
                  <a:lnTo>
                    <a:pt x="138621" y="112844"/>
                  </a:lnTo>
                  <a:lnTo>
                    <a:pt x="134932" y="112844"/>
                  </a:lnTo>
                  <a:lnTo>
                    <a:pt x="131243" y="109148"/>
                  </a:lnTo>
                  <a:lnTo>
                    <a:pt x="127554" y="109148"/>
                  </a:lnTo>
                  <a:lnTo>
                    <a:pt x="120176" y="109148"/>
                  </a:lnTo>
                  <a:lnTo>
                    <a:pt x="116487" y="112844"/>
                  </a:lnTo>
                  <a:lnTo>
                    <a:pt x="109108" y="116530"/>
                  </a:lnTo>
                  <a:lnTo>
                    <a:pt x="105419" y="120226"/>
                  </a:lnTo>
                  <a:lnTo>
                    <a:pt x="105419" y="123912"/>
                  </a:lnTo>
                  <a:lnTo>
                    <a:pt x="101730" y="131294"/>
                  </a:lnTo>
                  <a:lnTo>
                    <a:pt x="98041" y="134980"/>
                  </a:lnTo>
                  <a:lnTo>
                    <a:pt x="94352" y="138676"/>
                  </a:lnTo>
                  <a:lnTo>
                    <a:pt x="90662" y="142362"/>
                  </a:lnTo>
                  <a:lnTo>
                    <a:pt x="83284" y="146058"/>
                  </a:lnTo>
                  <a:lnTo>
                    <a:pt x="79595" y="146058"/>
                  </a:lnTo>
                  <a:lnTo>
                    <a:pt x="75906" y="149744"/>
                  </a:lnTo>
                  <a:lnTo>
                    <a:pt x="72217" y="149744"/>
                  </a:lnTo>
                  <a:lnTo>
                    <a:pt x="72217" y="146058"/>
                  </a:lnTo>
                  <a:lnTo>
                    <a:pt x="68527" y="146058"/>
                  </a:lnTo>
                  <a:lnTo>
                    <a:pt x="64838" y="149744"/>
                  </a:lnTo>
                  <a:lnTo>
                    <a:pt x="57460" y="149744"/>
                  </a:lnTo>
                  <a:lnTo>
                    <a:pt x="53771" y="149744"/>
                  </a:lnTo>
                  <a:lnTo>
                    <a:pt x="50082" y="153440"/>
                  </a:lnTo>
                  <a:lnTo>
                    <a:pt x="46393" y="153440"/>
                  </a:lnTo>
                  <a:lnTo>
                    <a:pt x="42703" y="153440"/>
                  </a:lnTo>
                  <a:lnTo>
                    <a:pt x="39014" y="160821"/>
                  </a:lnTo>
                  <a:lnTo>
                    <a:pt x="35325" y="160821"/>
                  </a:lnTo>
                  <a:lnTo>
                    <a:pt x="35325" y="157126"/>
                  </a:lnTo>
                  <a:lnTo>
                    <a:pt x="31636" y="157126"/>
                  </a:lnTo>
                  <a:lnTo>
                    <a:pt x="27947" y="157126"/>
                  </a:lnTo>
                  <a:lnTo>
                    <a:pt x="16879" y="160821"/>
                  </a:lnTo>
                  <a:lnTo>
                    <a:pt x="13190" y="164508"/>
                  </a:lnTo>
                  <a:lnTo>
                    <a:pt x="9501" y="168203"/>
                  </a:lnTo>
                  <a:lnTo>
                    <a:pt x="5812" y="175576"/>
                  </a:lnTo>
                  <a:lnTo>
                    <a:pt x="5812" y="179271"/>
                  </a:lnTo>
                  <a:lnTo>
                    <a:pt x="5812" y="186653"/>
                  </a:lnTo>
                  <a:lnTo>
                    <a:pt x="5812" y="190339"/>
                  </a:lnTo>
                  <a:lnTo>
                    <a:pt x="9501" y="194035"/>
                  </a:lnTo>
                  <a:lnTo>
                    <a:pt x="24258" y="212485"/>
                  </a:lnTo>
                  <a:lnTo>
                    <a:pt x="24258" y="219867"/>
                  </a:lnTo>
                  <a:lnTo>
                    <a:pt x="27947" y="223553"/>
                  </a:lnTo>
                  <a:lnTo>
                    <a:pt x="27947" y="227249"/>
                  </a:lnTo>
                  <a:lnTo>
                    <a:pt x="24258" y="234631"/>
                  </a:lnTo>
                  <a:lnTo>
                    <a:pt x="20568" y="245699"/>
                  </a:lnTo>
                  <a:lnTo>
                    <a:pt x="16879" y="253081"/>
                  </a:lnTo>
                  <a:lnTo>
                    <a:pt x="16879" y="256776"/>
                  </a:lnTo>
                  <a:lnTo>
                    <a:pt x="24258" y="271531"/>
                  </a:lnTo>
                  <a:lnTo>
                    <a:pt x="39014" y="312136"/>
                  </a:lnTo>
                  <a:lnTo>
                    <a:pt x="46393" y="323204"/>
                  </a:lnTo>
                  <a:lnTo>
                    <a:pt x="39014" y="326890"/>
                  </a:lnTo>
                  <a:lnTo>
                    <a:pt x="39014" y="330585"/>
                  </a:lnTo>
                  <a:lnTo>
                    <a:pt x="42703" y="341654"/>
                  </a:lnTo>
                  <a:lnTo>
                    <a:pt x="39014" y="352731"/>
                  </a:lnTo>
                  <a:lnTo>
                    <a:pt x="39014" y="356417"/>
                  </a:lnTo>
                  <a:lnTo>
                    <a:pt x="42703" y="356417"/>
                  </a:lnTo>
                  <a:lnTo>
                    <a:pt x="46393" y="360113"/>
                  </a:lnTo>
                  <a:lnTo>
                    <a:pt x="72217" y="360113"/>
                  </a:lnTo>
                  <a:lnTo>
                    <a:pt x="72217" y="363799"/>
                  </a:lnTo>
                  <a:lnTo>
                    <a:pt x="75906" y="367485"/>
                  </a:lnTo>
                  <a:lnTo>
                    <a:pt x="75906" y="378563"/>
                  </a:lnTo>
                  <a:lnTo>
                    <a:pt x="79595" y="374867"/>
                  </a:lnTo>
                  <a:lnTo>
                    <a:pt x="90662" y="378563"/>
                  </a:lnTo>
                  <a:lnTo>
                    <a:pt x="94352" y="378563"/>
                  </a:lnTo>
                  <a:lnTo>
                    <a:pt x="98041" y="378563"/>
                  </a:lnTo>
                  <a:lnTo>
                    <a:pt x="101730" y="378563"/>
                  </a:lnTo>
                  <a:lnTo>
                    <a:pt x="105419" y="378563"/>
                  </a:lnTo>
                  <a:lnTo>
                    <a:pt x="109108" y="374867"/>
                  </a:lnTo>
                  <a:lnTo>
                    <a:pt x="116487" y="371181"/>
                  </a:lnTo>
                  <a:lnTo>
                    <a:pt x="120176" y="371181"/>
                  </a:lnTo>
                  <a:lnTo>
                    <a:pt x="120176" y="367485"/>
                  </a:lnTo>
                  <a:lnTo>
                    <a:pt x="120176" y="363799"/>
                  </a:lnTo>
                  <a:lnTo>
                    <a:pt x="101730" y="337967"/>
                  </a:lnTo>
                  <a:lnTo>
                    <a:pt x="98041" y="326890"/>
                  </a:lnTo>
                  <a:lnTo>
                    <a:pt x="101730" y="323204"/>
                  </a:lnTo>
                  <a:lnTo>
                    <a:pt x="105419" y="323204"/>
                  </a:lnTo>
                  <a:lnTo>
                    <a:pt x="105419" y="319508"/>
                  </a:lnTo>
                  <a:lnTo>
                    <a:pt x="105419" y="315822"/>
                  </a:lnTo>
                  <a:lnTo>
                    <a:pt x="105419" y="312136"/>
                  </a:lnTo>
                  <a:lnTo>
                    <a:pt x="105419" y="308440"/>
                  </a:lnTo>
                  <a:lnTo>
                    <a:pt x="101730" y="308440"/>
                  </a:lnTo>
                  <a:lnTo>
                    <a:pt x="98041" y="304754"/>
                  </a:lnTo>
                  <a:lnTo>
                    <a:pt x="101730" y="301058"/>
                  </a:lnTo>
                  <a:lnTo>
                    <a:pt x="127554" y="289990"/>
                  </a:lnTo>
                  <a:lnTo>
                    <a:pt x="134932" y="289990"/>
                  </a:lnTo>
                  <a:lnTo>
                    <a:pt x="138621" y="286294"/>
                  </a:lnTo>
                  <a:lnTo>
                    <a:pt x="142311" y="282608"/>
                  </a:lnTo>
                  <a:lnTo>
                    <a:pt x="146000" y="282608"/>
                  </a:lnTo>
                  <a:lnTo>
                    <a:pt x="149690" y="282608"/>
                  </a:lnTo>
                  <a:lnTo>
                    <a:pt x="175514" y="278912"/>
                  </a:lnTo>
                  <a:lnTo>
                    <a:pt x="179203" y="286294"/>
                  </a:lnTo>
                  <a:lnTo>
                    <a:pt x="171825" y="304754"/>
                  </a:lnTo>
                  <a:lnTo>
                    <a:pt x="175514" y="326890"/>
                  </a:lnTo>
                  <a:lnTo>
                    <a:pt x="193960" y="319508"/>
                  </a:lnTo>
                  <a:lnTo>
                    <a:pt x="197649" y="319508"/>
                  </a:lnTo>
                  <a:lnTo>
                    <a:pt x="205027" y="319508"/>
                  </a:lnTo>
                  <a:lnTo>
                    <a:pt x="219784" y="323204"/>
                  </a:lnTo>
                  <a:lnTo>
                    <a:pt x="227162" y="326890"/>
                  </a:lnTo>
                  <a:lnTo>
                    <a:pt x="230851" y="326890"/>
                  </a:lnTo>
                  <a:lnTo>
                    <a:pt x="230851" y="323204"/>
                  </a:lnTo>
                  <a:lnTo>
                    <a:pt x="234541" y="326890"/>
                  </a:lnTo>
                  <a:lnTo>
                    <a:pt x="241919" y="323204"/>
                  </a:lnTo>
                  <a:lnTo>
                    <a:pt x="238230" y="308440"/>
                  </a:lnTo>
                  <a:lnTo>
                    <a:pt x="249297" y="304754"/>
                  </a:lnTo>
                  <a:lnTo>
                    <a:pt x="252986" y="304754"/>
                  </a:lnTo>
                  <a:lnTo>
                    <a:pt x="256676" y="293676"/>
                  </a:lnTo>
                  <a:lnTo>
                    <a:pt x="264054" y="289990"/>
                  </a:lnTo>
                  <a:lnTo>
                    <a:pt x="267743" y="286294"/>
                  </a:lnTo>
                  <a:lnTo>
                    <a:pt x="271432" y="278912"/>
                  </a:lnTo>
                  <a:lnTo>
                    <a:pt x="278811" y="275226"/>
                  </a:lnTo>
                  <a:lnTo>
                    <a:pt x="282500" y="271531"/>
                  </a:lnTo>
                  <a:lnTo>
                    <a:pt x="278811" y="267844"/>
                  </a:lnTo>
                  <a:lnTo>
                    <a:pt x="282500" y="267844"/>
                  </a:lnTo>
                  <a:lnTo>
                    <a:pt x="286189" y="267844"/>
                  </a:lnTo>
                  <a:lnTo>
                    <a:pt x="286189" y="264158"/>
                  </a:lnTo>
                  <a:lnTo>
                    <a:pt x="293568" y="260462"/>
                  </a:lnTo>
                  <a:lnTo>
                    <a:pt x="297257" y="264158"/>
                  </a:lnTo>
                  <a:lnTo>
                    <a:pt x="297257" y="267844"/>
                  </a:lnTo>
                  <a:lnTo>
                    <a:pt x="300946" y="267844"/>
                  </a:lnTo>
                  <a:lnTo>
                    <a:pt x="304636" y="267844"/>
                  </a:lnTo>
                  <a:lnTo>
                    <a:pt x="312014" y="271531"/>
                  </a:lnTo>
                  <a:lnTo>
                    <a:pt x="315703" y="271531"/>
                  </a:lnTo>
                  <a:lnTo>
                    <a:pt x="315703" y="275226"/>
                  </a:lnTo>
                  <a:lnTo>
                    <a:pt x="315703" y="278912"/>
                  </a:lnTo>
                  <a:lnTo>
                    <a:pt x="319392" y="282608"/>
                  </a:lnTo>
                  <a:lnTo>
                    <a:pt x="323081" y="278912"/>
                  </a:lnTo>
                  <a:lnTo>
                    <a:pt x="326771" y="282608"/>
                  </a:lnTo>
                  <a:lnTo>
                    <a:pt x="323081" y="289990"/>
                  </a:lnTo>
                  <a:lnTo>
                    <a:pt x="323081" y="297372"/>
                  </a:lnTo>
                  <a:lnTo>
                    <a:pt x="326771" y="297372"/>
                  </a:lnTo>
                  <a:lnTo>
                    <a:pt x="326771" y="301058"/>
                  </a:lnTo>
                  <a:lnTo>
                    <a:pt x="323081" y="301058"/>
                  </a:lnTo>
                  <a:lnTo>
                    <a:pt x="319392" y="304754"/>
                  </a:lnTo>
                  <a:lnTo>
                    <a:pt x="315703" y="308440"/>
                  </a:lnTo>
                  <a:lnTo>
                    <a:pt x="319392" y="323204"/>
                  </a:lnTo>
                  <a:lnTo>
                    <a:pt x="319392" y="326890"/>
                  </a:lnTo>
                  <a:lnTo>
                    <a:pt x="323081" y="326890"/>
                  </a:lnTo>
                  <a:lnTo>
                    <a:pt x="326771" y="326890"/>
                  </a:lnTo>
                  <a:lnTo>
                    <a:pt x="326771" y="330585"/>
                  </a:lnTo>
                  <a:lnTo>
                    <a:pt x="323081" y="330585"/>
                  </a:lnTo>
                  <a:lnTo>
                    <a:pt x="312014" y="326890"/>
                  </a:lnTo>
                  <a:lnTo>
                    <a:pt x="308325" y="323204"/>
                  </a:lnTo>
                  <a:lnTo>
                    <a:pt x="300946" y="323204"/>
                  </a:lnTo>
                  <a:lnTo>
                    <a:pt x="300946" y="319508"/>
                  </a:lnTo>
                  <a:lnTo>
                    <a:pt x="297257" y="319508"/>
                  </a:lnTo>
                  <a:lnTo>
                    <a:pt x="289878" y="323204"/>
                  </a:lnTo>
                  <a:lnTo>
                    <a:pt x="289878" y="326890"/>
                  </a:lnTo>
                  <a:lnTo>
                    <a:pt x="289878" y="330585"/>
                  </a:lnTo>
                  <a:lnTo>
                    <a:pt x="293568" y="334272"/>
                  </a:lnTo>
                  <a:lnTo>
                    <a:pt x="300946" y="337967"/>
                  </a:lnTo>
                  <a:lnTo>
                    <a:pt x="304636" y="337967"/>
                  </a:lnTo>
                  <a:lnTo>
                    <a:pt x="315703" y="334272"/>
                  </a:lnTo>
                  <a:lnTo>
                    <a:pt x="323081" y="334272"/>
                  </a:lnTo>
                  <a:lnTo>
                    <a:pt x="330460" y="334272"/>
                  </a:lnTo>
                  <a:lnTo>
                    <a:pt x="334149" y="337967"/>
                  </a:lnTo>
                  <a:lnTo>
                    <a:pt x="337838" y="337967"/>
                  </a:lnTo>
                  <a:lnTo>
                    <a:pt x="337838" y="334272"/>
                  </a:lnTo>
                  <a:lnTo>
                    <a:pt x="341527" y="334272"/>
                  </a:lnTo>
                  <a:lnTo>
                    <a:pt x="345217" y="334272"/>
                  </a:lnTo>
                  <a:lnTo>
                    <a:pt x="348906" y="334272"/>
                  </a:lnTo>
                  <a:lnTo>
                    <a:pt x="352595" y="334272"/>
                  </a:lnTo>
                  <a:lnTo>
                    <a:pt x="359973" y="341654"/>
                  </a:lnTo>
                  <a:lnTo>
                    <a:pt x="359973" y="345349"/>
                  </a:lnTo>
                  <a:lnTo>
                    <a:pt x="363662" y="345349"/>
                  </a:lnTo>
                  <a:lnTo>
                    <a:pt x="367351" y="349036"/>
                  </a:lnTo>
                  <a:lnTo>
                    <a:pt x="371041" y="349036"/>
                  </a:lnTo>
                  <a:lnTo>
                    <a:pt x="385797" y="326890"/>
                  </a:lnTo>
                  <a:lnTo>
                    <a:pt x="407932" y="312136"/>
                  </a:lnTo>
                  <a:lnTo>
                    <a:pt x="407932" y="304754"/>
                  </a:lnTo>
                  <a:lnTo>
                    <a:pt x="411621" y="304754"/>
                  </a:lnTo>
                  <a:lnTo>
                    <a:pt x="411621" y="301058"/>
                  </a:lnTo>
                  <a:lnTo>
                    <a:pt x="407932" y="297372"/>
                  </a:lnTo>
                  <a:lnTo>
                    <a:pt x="407932" y="293676"/>
                  </a:lnTo>
                  <a:lnTo>
                    <a:pt x="411621" y="289990"/>
                  </a:lnTo>
                  <a:lnTo>
                    <a:pt x="411621" y="286294"/>
                  </a:lnTo>
                  <a:lnTo>
                    <a:pt x="415310" y="282608"/>
                  </a:lnTo>
                  <a:lnTo>
                    <a:pt x="422689" y="278912"/>
                  </a:lnTo>
                  <a:lnTo>
                    <a:pt x="426378" y="278912"/>
                  </a:lnTo>
                  <a:lnTo>
                    <a:pt x="422689" y="282608"/>
                  </a:lnTo>
                  <a:lnTo>
                    <a:pt x="426378" y="286294"/>
                  </a:lnTo>
                  <a:lnTo>
                    <a:pt x="426378" y="289990"/>
                  </a:lnTo>
                  <a:lnTo>
                    <a:pt x="430067" y="289990"/>
                  </a:lnTo>
                  <a:lnTo>
                    <a:pt x="444825" y="289990"/>
                  </a:lnTo>
                  <a:lnTo>
                    <a:pt x="455892" y="323204"/>
                  </a:lnTo>
                  <a:lnTo>
                    <a:pt x="452203" y="330585"/>
                  </a:lnTo>
                  <a:lnTo>
                    <a:pt x="441136" y="352731"/>
                  </a:lnTo>
                  <a:lnTo>
                    <a:pt x="463271" y="378563"/>
                  </a:lnTo>
                  <a:lnTo>
                    <a:pt x="463271" y="382249"/>
                  </a:lnTo>
                  <a:lnTo>
                    <a:pt x="466960" y="385945"/>
                  </a:lnTo>
                  <a:lnTo>
                    <a:pt x="470649" y="389631"/>
                  </a:lnTo>
                  <a:lnTo>
                    <a:pt x="470649" y="415463"/>
                  </a:lnTo>
                  <a:lnTo>
                    <a:pt x="485405" y="419159"/>
                  </a:lnTo>
                  <a:lnTo>
                    <a:pt x="489095" y="415463"/>
                  </a:lnTo>
                  <a:lnTo>
                    <a:pt x="500162" y="411777"/>
                  </a:lnTo>
                  <a:lnTo>
                    <a:pt x="503851" y="411777"/>
                  </a:lnTo>
                  <a:lnTo>
                    <a:pt x="503851" y="408091"/>
                  </a:lnTo>
                  <a:lnTo>
                    <a:pt x="525986" y="422845"/>
                  </a:lnTo>
                  <a:lnTo>
                    <a:pt x="518608" y="452372"/>
                  </a:lnTo>
                  <a:lnTo>
                    <a:pt x="522297" y="456068"/>
                  </a:lnTo>
                  <a:lnTo>
                    <a:pt x="537051" y="452372"/>
                  </a:lnTo>
                  <a:lnTo>
                    <a:pt x="551815" y="456068"/>
                  </a:lnTo>
                  <a:lnTo>
                    <a:pt x="562874" y="456068"/>
                  </a:lnTo>
                  <a:lnTo>
                    <a:pt x="570255" y="456068"/>
                  </a:lnTo>
                  <a:lnTo>
                    <a:pt x="573942" y="452372"/>
                  </a:lnTo>
                  <a:lnTo>
                    <a:pt x="577637" y="444990"/>
                  </a:lnTo>
                  <a:lnTo>
                    <a:pt x="588705" y="448686"/>
                  </a:lnTo>
                  <a:lnTo>
                    <a:pt x="603460" y="452372"/>
                  </a:lnTo>
                  <a:lnTo>
                    <a:pt x="610841" y="456068"/>
                  </a:lnTo>
                  <a:lnTo>
                    <a:pt x="621910" y="444990"/>
                  </a:lnTo>
                  <a:lnTo>
                    <a:pt x="625596" y="441304"/>
                  </a:lnTo>
                  <a:lnTo>
                    <a:pt x="636664" y="437608"/>
                  </a:lnTo>
                  <a:lnTo>
                    <a:pt x="640350" y="433922"/>
                  </a:lnTo>
                  <a:lnTo>
                    <a:pt x="644036" y="430227"/>
                  </a:lnTo>
                  <a:lnTo>
                    <a:pt x="644036" y="426540"/>
                  </a:lnTo>
                  <a:lnTo>
                    <a:pt x="647732" y="426540"/>
                  </a:lnTo>
                  <a:lnTo>
                    <a:pt x="662486" y="430227"/>
                  </a:lnTo>
                  <a:lnTo>
                    <a:pt x="662486" y="433922"/>
                  </a:lnTo>
                  <a:lnTo>
                    <a:pt x="666172" y="441304"/>
                  </a:lnTo>
                  <a:lnTo>
                    <a:pt x="677240" y="448686"/>
                  </a:lnTo>
                  <a:lnTo>
                    <a:pt x="680936" y="452372"/>
                  </a:lnTo>
                  <a:lnTo>
                    <a:pt x="680936" y="456068"/>
                  </a:lnTo>
                  <a:lnTo>
                    <a:pt x="680936" y="459754"/>
                  </a:lnTo>
                  <a:lnTo>
                    <a:pt x="680936" y="463440"/>
                  </a:lnTo>
                  <a:lnTo>
                    <a:pt x="680936" y="467136"/>
                  </a:lnTo>
                  <a:lnTo>
                    <a:pt x="680936" y="474518"/>
                  </a:lnTo>
                  <a:lnTo>
                    <a:pt x="684622" y="489282"/>
                  </a:lnTo>
                  <a:lnTo>
                    <a:pt x="688308" y="489282"/>
                  </a:lnTo>
                  <a:lnTo>
                    <a:pt x="699376" y="485586"/>
                  </a:lnTo>
                  <a:lnTo>
                    <a:pt x="703063" y="485586"/>
                  </a:lnTo>
                  <a:lnTo>
                    <a:pt x="714131" y="481900"/>
                  </a:lnTo>
                  <a:lnTo>
                    <a:pt x="714131" y="467136"/>
                  </a:lnTo>
                  <a:lnTo>
                    <a:pt x="717826" y="448686"/>
                  </a:lnTo>
                  <a:lnTo>
                    <a:pt x="725199" y="433922"/>
                  </a:lnTo>
                  <a:lnTo>
                    <a:pt x="728894" y="426540"/>
                  </a:lnTo>
                  <a:lnTo>
                    <a:pt x="739962" y="415463"/>
                  </a:lnTo>
                  <a:lnTo>
                    <a:pt x="754717" y="408091"/>
                  </a:lnTo>
                  <a:lnTo>
                    <a:pt x="758403" y="408091"/>
                  </a:lnTo>
                  <a:lnTo>
                    <a:pt x="776853" y="404395"/>
                  </a:lnTo>
                  <a:lnTo>
                    <a:pt x="784225" y="400709"/>
                  </a:lnTo>
                  <a:lnTo>
                    <a:pt x="787921" y="400709"/>
                  </a:lnTo>
                  <a:lnTo>
                    <a:pt x="791607" y="397013"/>
                  </a:lnTo>
                  <a:lnTo>
                    <a:pt x="821125" y="389631"/>
                  </a:lnTo>
                  <a:lnTo>
                    <a:pt x="832193" y="385945"/>
                  </a:lnTo>
                  <a:lnTo>
                    <a:pt x="835879" y="385945"/>
                  </a:lnTo>
                  <a:lnTo>
                    <a:pt x="839565" y="382249"/>
                  </a:lnTo>
                  <a:lnTo>
                    <a:pt x="843252" y="382249"/>
                  </a:lnTo>
                  <a:lnTo>
                    <a:pt x="850633" y="374867"/>
                  </a:lnTo>
                  <a:lnTo>
                    <a:pt x="861701" y="363799"/>
                  </a:lnTo>
                  <a:lnTo>
                    <a:pt x="869083" y="360113"/>
                  </a:lnTo>
                  <a:lnTo>
                    <a:pt x="861701" y="349036"/>
                  </a:lnTo>
                  <a:lnTo>
                    <a:pt x="854319" y="334272"/>
                  </a:lnTo>
                  <a:lnTo>
                    <a:pt x="839565" y="308440"/>
                  </a:lnTo>
                  <a:lnTo>
                    <a:pt x="839565" y="304754"/>
                  </a:lnTo>
                  <a:lnTo>
                    <a:pt x="832193" y="271531"/>
                  </a:lnTo>
                  <a:lnTo>
                    <a:pt x="828497" y="264158"/>
                  </a:lnTo>
                  <a:lnTo>
                    <a:pt x="828497" y="256776"/>
                  </a:lnTo>
                  <a:lnTo>
                    <a:pt x="824811" y="245699"/>
                  </a:lnTo>
                  <a:lnTo>
                    <a:pt x="821125" y="212485"/>
                  </a:lnTo>
                  <a:lnTo>
                    <a:pt x="835879" y="216181"/>
                  </a:lnTo>
                  <a:lnTo>
                    <a:pt x="846947" y="219867"/>
                  </a:lnTo>
                  <a:lnTo>
                    <a:pt x="854319" y="223553"/>
                  </a:lnTo>
                  <a:lnTo>
                    <a:pt x="861701" y="223553"/>
                  </a:lnTo>
                  <a:lnTo>
                    <a:pt x="869083" y="223553"/>
                  </a:lnTo>
                  <a:lnTo>
                    <a:pt x="876456" y="219867"/>
                  </a:lnTo>
                  <a:lnTo>
                    <a:pt x="887524" y="216181"/>
                  </a:lnTo>
                  <a:lnTo>
                    <a:pt x="894905" y="212485"/>
                  </a:lnTo>
                  <a:lnTo>
                    <a:pt x="902287" y="208799"/>
                  </a:lnTo>
                  <a:lnTo>
                    <a:pt x="902287" y="212485"/>
                  </a:lnTo>
                  <a:lnTo>
                    <a:pt x="905974" y="212485"/>
                  </a:lnTo>
                  <a:lnTo>
                    <a:pt x="909660" y="216181"/>
                  </a:lnTo>
                  <a:lnTo>
                    <a:pt x="917042" y="223553"/>
                  </a:lnTo>
                  <a:lnTo>
                    <a:pt x="917042" y="219867"/>
                  </a:lnTo>
                  <a:lnTo>
                    <a:pt x="920728" y="219867"/>
                  </a:lnTo>
                  <a:lnTo>
                    <a:pt x="924414" y="219867"/>
                  </a:lnTo>
                  <a:lnTo>
                    <a:pt x="920728" y="216181"/>
                  </a:lnTo>
                  <a:lnTo>
                    <a:pt x="920728" y="212485"/>
                  </a:lnTo>
                  <a:lnTo>
                    <a:pt x="920728" y="208799"/>
                  </a:lnTo>
                  <a:lnTo>
                    <a:pt x="920728" y="205103"/>
                  </a:lnTo>
                  <a:lnTo>
                    <a:pt x="920728" y="201417"/>
                  </a:lnTo>
                  <a:lnTo>
                    <a:pt x="917042" y="194035"/>
                  </a:lnTo>
                  <a:lnTo>
                    <a:pt x="913356" y="190339"/>
                  </a:lnTo>
                  <a:lnTo>
                    <a:pt x="913356" y="186653"/>
                  </a:lnTo>
                  <a:lnTo>
                    <a:pt x="913356" y="175576"/>
                  </a:lnTo>
                  <a:lnTo>
                    <a:pt x="909660" y="171890"/>
                  </a:lnTo>
                  <a:lnTo>
                    <a:pt x="909660" y="168203"/>
                  </a:lnTo>
                  <a:lnTo>
                    <a:pt x="905974" y="164508"/>
                  </a:lnTo>
                  <a:lnTo>
                    <a:pt x="902287" y="160821"/>
                  </a:lnTo>
                  <a:lnTo>
                    <a:pt x="898592" y="157126"/>
                  </a:lnTo>
                  <a:lnTo>
                    <a:pt x="887524" y="153440"/>
                  </a:lnTo>
                  <a:lnTo>
                    <a:pt x="887524" y="149744"/>
                  </a:lnTo>
                  <a:lnTo>
                    <a:pt x="883838" y="146058"/>
                  </a:lnTo>
                  <a:lnTo>
                    <a:pt x="883838" y="134980"/>
                  </a:lnTo>
                  <a:lnTo>
                    <a:pt x="883838" y="131294"/>
                  </a:lnTo>
                  <a:lnTo>
                    <a:pt x="883838" y="127598"/>
                  </a:lnTo>
                  <a:lnTo>
                    <a:pt x="883838" y="120226"/>
                  </a:lnTo>
                  <a:lnTo>
                    <a:pt x="880151" y="120226"/>
                  </a:lnTo>
                  <a:lnTo>
                    <a:pt x="880151" y="116530"/>
                  </a:lnTo>
                  <a:lnTo>
                    <a:pt x="880151" y="109148"/>
                  </a:lnTo>
                  <a:lnTo>
                    <a:pt x="876456" y="98080"/>
                  </a:lnTo>
                  <a:lnTo>
                    <a:pt x="872769" y="98080"/>
                  </a:lnTo>
                  <a:lnTo>
                    <a:pt x="869083" y="94385"/>
                  </a:lnTo>
                  <a:lnTo>
                    <a:pt x="861701" y="94385"/>
                  </a:lnTo>
                  <a:lnTo>
                    <a:pt x="854319" y="90698"/>
                  </a:lnTo>
                  <a:lnTo>
                    <a:pt x="846947" y="90698"/>
                  </a:lnTo>
                  <a:lnTo>
                    <a:pt x="843252" y="87003"/>
                  </a:lnTo>
                  <a:lnTo>
                    <a:pt x="843252" y="79621"/>
                  </a:lnTo>
                  <a:lnTo>
                    <a:pt x="839565" y="72248"/>
                  </a:lnTo>
                  <a:lnTo>
                    <a:pt x="839565" y="68553"/>
                  </a:lnTo>
                  <a:lnTo>
                    <a:pt x="839565" y="64867"/>
                  </a:lnTo>
                  <a:lnTo>
                    <a:pt x="835879" y="64867"/>
                  </a:lnTo>
                  <a:lnTo>
                    <a:pt x="832193" y="61171"/>
                  </a:lnTo>
                  <a:lnTo>
                    <a:pt x="828497" y="61171"/>
                  </a:lnTo>
                  <a:lnTo>
                    <a:pt x="821125" y="61171"/>
                  </a:lnTo>
                  <a:lnTo>
                    <a:pt x="810057" y="61171"/>
                  </a:lnTo>
                  <a:lnTo>
                    <a:pt x="806361" y="61171"/>
                  </a:lnTo>
                  <a:lnTo>
                    <a:pt x="795293" y="64867"/>
                  </a:lnTo>
                  <a:lnTo>
                    <a:pt x="791607" y="64867"/>
                  </a:lnTo>
                  <a:lnTo>
                    <a:pt x="784225" y="64867"/>
                  </a:lnTo>
                  <a:lnTo>
                    <a:pt x="780539" y="64867"/>
                  </a:lnTo>
                  <a:lnTo>
                    <a:pt x="776853" y="64867"/>
                  </a:lnTo>
                  <a:lnTo>
                    <a:pt x="773157" y="61171"/>
                  </a:lnTo>
                  <a:lnTo>
                    <a:pt x="773157" y="57485"/>
                  </a:lnTo>
                  <a:lnTo>
                    <a:pt x="769471" y="53789"/>
                  </a:lnTo>
                  <a:lnTo>
                    <a:pt x="765785" y="50103"/>
                  </a:lnTo>
                  <a:lnTo>
                    <a:pt x="762098" y="50103"/>
                  </a:lnTo>
                  <a:lnTo>
                    <a:pt x="758403" y="50103"/>
                  </a:lnTo>
                  <a:lnTo>
                    <a:pt x="754717" y="46407"/>
                  </a:lnTo>
                  <a:lnTo>
                    <a:pt x="751030" y="46407"/>
                  </a:lnTo>
                  <a:lnTo>
                    <a:pt x="751030" y="39025"/>
                  </a:lnTo>
                  <a:lnTo>
                    <a:pt x="747335" y="39025"/>
                  </a:lnTo>
                  <a:lnTo>
                    <a:pt x="743649" y="35339"/>
                  </a:lnTo>
                  <a:lnTo>
                    <a:pt x="739962" y="35339"/>
                  </a:lnTo>
                  <a:lnTo>
                    <a:pt x="736267" y="35339"/>
                  </a:lnTo>
                  <a:lnTo>
                    <a:pt x="732581" y="31643"/>
                  </a:lnTo>
                  <a:lnTo>
                    <a:pt x="728894" y="27957"/>
                  </a:lnTo>
                  <a:lnTo>
                    <a:pt x="725199" y="24271"/>
                  </a:lnTo>
                  <a:lnTo>
                    <a:pt x="725199" y="16889"/>
                  </a:lnTo>
                  <a:lnTo>
                    <a:pt x="721512" y="13194"/>
                  </a:lnTo>
                  <a:lnTo>
                    <a:pt x="714131" y="13194"/>
                  </a:lnTo>
                  <a:lnTo>
                    <a:pt x="710444" y="13194"/>
                  </a:lnTo>
                  <a:lnTo>
                    <a:pt x="706758" y="9507"/>
                  </a:lnTo>
                  <a:lnTo>
                    <a:pt x="699376" y="5812"/>
                  </a:lnTo>
                  <a:lnTo>
                    <a:pt x="695690" y="5812"/>
                  </a:lnTo>
                  <a:lnTo>
                    <a:pt x="692004" y="5812"/>
                  </a:lnTo>
                  <a:lnTo>
                    <a:pt x="684622" y="5812"/>
                  </a:lnTo>
                  <a:lnTo>
                    <a:pt x="680936" y="5812"/>
                  </a:lnTo>
                  <a:lnTo>
                    <a:pt x="677240" y="9507"/>
                  </a:lnTo>
                  <a:lnTo>
                    <a:pt x="677240" y="13194"/>
                  </a:lnTo>
                  <a:lnTo>
                    <a:pt x="673554" y="16889"/>
                  </a:lnTo>
                  <a:lnTo>
                    <a:pt x="669868" y="16889"/>
                  </a:lnTo>
                  <a:lnTo>
                    <a:pt x="666172" y="13194"/>
                  </a:lnTo>
                  <a:lnTo>
                    <a:pt x="662486" y="13194"/>
                  </a:lnTo>
                  <a:lnTo>
                    <a:pt x="658800" y="13194"/>
                  </a:lnTo>
                  <a:lnTo>
                    <a:pt x="658800" y="9507"/>
                  </a:lnTo>
                  <a:lnTo>
                    <a:pt x="655104" y="5812"/>
                  </a:lnTo>
                  <a:lnTo>
                    <a:pt x="651418" y="5812"/>
                  </a:lnTo>
                  <a:lnTo>
                    <a:pt x="647732" y="5812"/>
                  </a:lnTo>
                  <a:lnTo>
                    <a:pt x="644036" y="5812"/>
                  </a:lnTo>
                  <a:lnTo>
                    <a:pt x="644036" y="9507"/>
                  </a:lnTo>
                  <a:lnTo>
                    <a:pt x="640350" y="16889"/>
                  </a:lnTo>
                  <a:lnTo>
                    <a:pt x="636664" y="20575"/>
                  </a:lnTo>
                  <a:lnTo>
                    <a:pt x="629282" y="20575"/>
                  </a:lnTo>
                  <a:lnTo>
                    <a:pt x="621910" y="20575"/>
                  </a:lnTo>
                  <a:lnTo>
                    <a:pt x="618214" y="20575"/>
                  </a:lnTo>
                  <a:lnTo>
                    <a:pt x="614528" y="16889"/>
                  </a:lnTo>
                  <a:lnTo>
                    <a:pt x="610841" y="13194"/>
                  </a:lnTo>
                  <a:lnTo>
                    <a:pt x="610841" y="9507"/>
                  </a:lnTo>
                  <a:lnTo>
                    <a:pt x="607146" y="9507"/>
                  </a:lnTo>
                  <a:lnTo>
                    <a:pt x="603460" y="13194"/>
                  </a:lnTo>
                  <a:lnTo>
                    <a:pt x="603460" y="16889"/>
                  </a:lnTo>
                  <a:lnTo>
                    <a:pt x="599773" y="20575"/>
                  </a:lnTo>
                  <a:lnTo>
                    <a:pt x="596078" y="24271"/>
                  </a:lnTo>
                  <a:lnTo>
                    <a:pt x="588705" y="35339"/>
                  </a:lnTo>
                  <a:lnTo>
                    <a:pt x="588705" y="39025"/>
                  </a:lnTo>
                  <a:lnTo>
                    <a:pt x="585010" y="46407"/>
                  </a:lnTo>
                  <a:lnTo>
                    <a:pt x="585010" y="53789"/>
                  </a:lnTo>
                  <a:lnTo>
                    <a:pt x="585010" y="61171"/>
                  </a:lnTo>
                  <a:lnTo>
                    <a:pt x="581323" y="61171"/>
                  </a:lnTo>
                  <a:lnTo>
                    <a:pt x="581323" y="64867"/>
                  </a:lnTo>
                  <a:lnTo>
                    <a:pt x="562874" y="72248"/>
                  </a:lnTo>
                  <a:lnTo>
                    <a:pt x="555501" y="75935"/>
                  </a:lnTo>
                  <a:lnTo>
                    <a:pt x="555501" y="79621"/>
                  </a:lnTo>
                  <a:lnTo>
                    <a:pt x="551815" y="79621"/>
                  </a:lnTo>
                  <a:lnTo>
                    <a:pt x="544433" y="75935"/>
                  </a:lnTo>
                  <a:lnTo>
                    <a:pt x="537051" y="75935"/>
                  </a:lnTo>
                  <a:lnTo>
                    <a:pt x="533365" y="79621"/>
                  </a:lnTo>
                  <a:lnTo>
                    <a:pt x="529675" y="83317"/>
                  </a:lnTo>
                  <a:lnTo>
                    <a:pt x="525986" y="79621"/>
                  </a:lnTo>
                  <a:lnTo>
                    <a:pt x="518608" y="75935"/>
                  </a:lnTo>
                  <a:lnTo>
                    <a:pt x="514919" y="72248"/>
                  </a:lnTo>
                  <a:lnTo>
                    <a:pt x="511230" y="75935"/>
                  </a:lnTo>
                  <a:lnTo>
                    <a:pt x="507540" y="75935"/>
                  </a:lnTo>
                  <a:lnTo>
                    <a:pt x="503851" y="75935"/>
                  </a:lnTo>
                  <a:lnTo>
                    <a:pt x="496473" y="75935"/>
                  </a:lnTo>
                  <a:lnTo>
                    <a:pt x="492784" y="75935"/>
                  </a:lnTo>
                  <a:lnTo>
                    <a:pt x="485405" y="75935"/>
                  </a:lnTo>
                  <a:lnTo>
                    <a:pt x="478027" y="75935"/>
                  </a:lnTo>
                  <a:lnTo>
                    <a:pt x="470649" y="79621"/>
                  </a:lnTo>
                  <a:lnTo>
                    <a:pt x="466960" y="75935"/>
                  </a:lnTo>
                  <a:lnTo>
                    <a:pt x="466960" y="72248"/>
                  </a:lnTo>
                  <a:lnTo>
                    <a:pt x="470649" y="72248"/>
                  </a:lnTo>
                  <a:lnTo>
                    <a:pt x="474338" y="68553"/>
                  </a:lnTo>
                  <a:lnTo>
                    <a:pt x="478027" y="64867"/>
                  </a:lnTo>
                  <a:lnTo>
                    <a:pt x="474338" y="61171"/>
                  </a:lnTo>
                  <a:lnTo>
                    <a:pt x="474338" y="57485"/>
                  </a:lnTo>
                  <a:lnTo>
                    <a:pt x="474338" y="53789"/>
                  </a:lnTo>
                  <a:lnTo>
                    <a:pt x="474338" y="50103"/>
                  </a:lnTo>
                  <a:lnTo>
                    <a:pt x="463271" y="46407"/>
                  </a:lnTo>
                  <a:lnTo>
                    <a:pt x="459581" y="42721"/>
                  </a:lnTo>
                  <a:lnTo>
                    <a:pt x="455892" y="39025"/>
                  </a:lnTo>
                  <a:lnTo>
                    <a:pt x="452203" y="39025"/>
                  </a:lnTo>
                  <a:lnTo>
                    <a:pt x="448514" y="42721"/>
                  </a:lnTo>
                  <a:lnTo>
                    <a:pt x="444825" y="46407"/>
                  </a:lnTo>
                  <a:lnTo>
                    <a:pt x="441136" y="46407"/>
                  </a:lnTo>
                  <a:lnTo>
                    <a:pt x="441136" y="42721"/>
                  </a:lnTo>
                  <a:lnTo>
                    <a:pt x="437445" y="42721"/>
                  </a:lnTo>
                  <a:lnTo>
                    <a:pt x="437445" y="39025"/>
                  </a:lnTo>
                  <a:lnTo>
                    <a:pt x="433756" y="35339"/>
                  </a:lnTo>
                  <a:lnTo>
                    <a:pt x="433756" y="31643"/>
                  </a:lnTo>
                  <a:lnTo>
                    <a:pt x="430067" y="31643"/>
                  </a:lnTo>
                  <a:lnTo>
                    <a:pt x="426378" y="27957"/>
                  </a:lnTo>
                  <a:lnTo>
                    <a:pt x="419000" y="24271"/>
                  </a:lnTo>
                  <a:lnTo>
                    <a:pt x="415310" y="20575"/>
                  </a:lnTo>
                  <a:lnTo>
                    <a:pt x="411621" y="20575"/>
                  </a:lnTo>
                  <a:lnTo>
                    <a:pt x="411621" y="16889"/>
                  </a:lnTo>
                  <a:lnTo>
                    <a:pt x="411621" y="13194"/>
                  </a:lnTo>
                  <a:lnTo>
                    <a:pt x="407932" y="13194"/>
                  </a:lnTo>
                  <a:lnTo>
                    <a:pt x="400554" y="13194"/>
                  </a:lnTo>
                  <a:lnTo>
                    <a:pt x="396865" y="9507"/>
                  </a:lnTo>
                  <a:lnTo>
                    <a:pt x="393175" y="9507"/>
                  </a:lnTo>
                  <a:lnTo>
                    <a:pt x="385797" y="9507"/>
                  </a:lnTo>
                  <a:lnTo>
                    <a:pt x="378419" y="5812"/>
                  </a:lnTo>
                  <a:lnTo>
                    <a:pt x="374730" y="5812"/>
                  </a:lnTo>
                  <a:lnTo>
                    <a:pt x="371041" y="5812"/>
                  </a:lnTo>
                  <a:lnTo>
                    <a:pt x="363662" y="5812"/>
                  </a:lnTo>
                  <a:close/>
                  <a:moveTo>
                    <a:pt x="367351" y="349036"/>
                  </a:moveTo>
                  <a:lnTo>
                    <a:pt x="363662" y="349036"/>
                  </a:lnTo>
                  <a:lnTo>
                    <a:pt x="359973" y="349036"/>
                  </a:lnTo>
                  <a:lnTo>
                    <a:pt x="363662" y="352731"/>
                  </a:lnTo>
                  <a:lnTo>
                    <a:pt x="367351" y="349036"/>
                  </a:lnTo>
                  <a:close/>
                  <a:moveTo>
                    <a:pt x="363662" y="308440"/>
                  </a:moveTo>
                  <a:lnTo>
                    <a:pt x="367351" y="308440"/>
                  </a:lnTo>
                  <a:lnTo>
                    <a:pt x="367351" y="312136"/>
                  </a:lnTo>
                  <a:lnTo>
                    <a:pt x="371041" y="315822"/>
                  </a:lnTo>
                  <a:lnTo>
                    <a:pt x="374730" y="315822"/>
                  </a:lnTo>
                  <a:lnTo>
                    <a:pt x="374730" y="319508"/>
                  </a:lnTo>
                  <a:lnTo>
                    <a:pt x="374730" y="323204"/>
                  </a:lnTo>
                  <a:lnTo>
                    <a:pt x="371041" y="323204"/>
                  </a:lnTo>
                  <a:lnTo>
                    <a:pt x="367351" y="319508"/>
                  </a:lnTo>
                  <a:lnTo>
                    <a:pt x="363662" y="319508"/>
                  </a:lnTo>
                  <a:lnTo>
                    <a:pt x="367351" y="315822"/>
                  </a:lnTo>
                  <a:lnTo>
                    <a:pt x="363662" y="312136"/>
                  </a:lnTo>
                  <a:lnTo>
                    <a:pt x="363662" y="308440"/>
                  </a:lnTo>
                  <a:close/>
                  <a:moveTo>
                    <a:pt x="371041" y="308440"/>
                  </a:moveTo>
                  <a:lnTo>
                    <a:pt x="374730" y="312136"/>
                  </a:lnTo>
                  <a:lnTo>
                    <a:pt x="371041" y="312136"/>
                  </a:lnTo>
                  <a:lnTo>
                    <a:pt x="371041" y="308440"/>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sp>
          <p:nvSpPr>
            <p:cNvPr id="28" name="Google Shape;455;p2">
              <a:extLst>
                <a:ext uri="{FF2B5EF4-FFF2-40B4-BE49-F238E27FC236}">
                  <a16:creationId xmlns:a16="http://schemas.microsoft.com/office/drawing/2014/main" id="{A0A10DA4-0ECF-4C47-81A8-8CA9A4671242}"/>
                </a:ext>
              </a:extLst>
            </p:cNvPr>
            <p:cNvSpPr/>
            <p:nvPr/>
          </p:nvSpPr>
          <p:spPr>
            <a:xfrm>
              <a:off x="2813588" y="4888619"/>
              <a:ext cx="43320" cy="43320"/>
            </a:xfrm>
            <a:custGeom>
              <a:avLst/>
              <a:gdLst/>
              <a:ahLst/>
              <a:cxnLst/>
              <a:rect l="l" t="t" r="r" b="b"/>
              <a:pathLst>
                <a:path w="19050" h="19050" extrusionOk="0">
                  <a:moveTo>
                    <a:pt x="9501" y="5812"/>
                  </a:moveTo>
                  <a:lnTo>
                    <a:pt x="9501" y="9507"/>
                  </a:lnTo>
                  <a:lnTo>
                    <a:pt x="13191" y="13194"/>
                  </a:lnTo>
                  <a:lnTo>
                    <a:pt x="13191" y="13194"/>
                  </a:lnTo>
                  <a:lnTo>
                    <a:pt x="13191" y="9507"/>
                  </a:lnTo>
                  <a:lnTo>
                    <a:pt x="13191" y="5812"/>
                  </a:lnTo>
                  <a:lnTo>
                    <a:pt x="16880" y="9507"/>
                  </a:lnTo>
                  <a:lnTo>
                    <a:pt x="16880" y="9507"/>
                  </a:lnTo>
                  <a:lnTo>
                    <a:pt x="13191" y="9507"/>
                  </a:lnTo>
                  <a:lnTo>
                    <a:pt x="13191" y="9507"/>
                  </a:lnTo>
                  <a:lnTo>
                    <a:pt x="13191" y="13194"/>
                  </a:lnTo>
                  <a:lnTo>
                    <a:pt x="13191" y="13194"/>
                  </a:lnTo>
                  <a:lnTo>
                    <a:pt x="16880" y="13194"/>
                  </a:lnTo>
                  <a:lnTo>
                    <a:pt x="16880" y="16880"/>
                  </a:lnTo>
                  <a:lnTo>
                    <a:pt x="16880" y="16880"/>
                  </a:lnTo>
                  <a:lnTo>
                    <a:pt x="16880" y="20575"/>
                  </a:lnTo>
                  <a:lnTo>
                    <a:pt x="16880" y="20575"/>
                  </a:lnTo>
                  <a:lnTo>
                    <a:pt x="13191" y="20575"/>
                  </a:lnTo>
                  <a:lnTo>
                    <a:pt x="9501" y="16880"/>
                  </a:lnTo>
                  <a:lnTo>
                    <a:pt x="5812" y="16880"/>
                  </a:lnTo>
                  <a:lnTo>
                    <a:pt x="9501" y="13194"/>
                  </a:lnTo>
                  <a:lnTo>
                    <a:pt x="5812" y="9507"/>
                  </a:lnTo>
                  <a:lnTo>
                    <a:pt x="5812" y="5812"/>
                  </a:lnTo>
                  <a:lnTo>
                    <a:pt x="9501" y="5812"/>
                  </a:lnTo>
                  <a:lnTo>
                    <a:pt x="9501" y="5812"/>
                  </a:lnTo>
                  <a:close/>
                </a:path>
              </a:pathLst>
            </a:custGeom>
            <a:grpFill/>
            <a:ln w="12700" cap="flat" cmpd="sng">
              <a:solidFill>
                <a:srgbClr val="AFAFA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rgbClr val="002060"/>
                </a:solidFill>
                <a:latin typeface="Corbel" panose="020B0503020204020204" pitchFamily="34" charset="0"/>
                <a:ea typeface="Arial"/>
                <a:cs typeface="Arial"/>
                <a:sym typeface="Arial"/>
              </a:endParaRPr>
            </a:p>
          </p:txBody>
        </p:sp>
      </p:grpSp>
      <p:sp>
        <p:nvSpPr>
          <p:cNvPr id="136" name="Freeform: Shape 135">
            <a:extLst>
              <a:ext uri="{FF2B5EF4-FFF2-40B4-BE49-F238E27FC236}">
                <a16:creationId xmlns:a16="http://schemas.microsoft.com/office/drawing/2014/main" id="{93157EEA-37B0-4157-BA02-86E5EE5BB232}"/>
              </a:ext>
            </a:extLst>
          </p:cNvPr>
          <p:cNvSpPr/>
          <p:nvPr/>
        </p:nvSpPr>
        <p:spPr>
          <a:xfrm rot="4960364" flipV="1">
            <a:off x="7397991" y="3267487"/>
            <a:ext cx="389964" cy="709696"/>
          </a:xfrm>
          <a:custGeom>
            <a:avLst/>
            <a:gdLst>
              <a:gd name="connsiteX0" fmla="*/ 0 w 300133"/>
              <a:gd name="connsiteY0" fmla="*/ 0 h 488272"/>
              <a:gd name="connsiteX1" fmla="*/ 284085 w 300133"/>
              <a:gd name="connsiteY1" fmla="*/ 195308 h 488272"/>
              <a:gd name="connsiteX2" fmla="*/ 239697 w 300133"/>
              <a:gd name="connsiteY2" fmla="*/ 488272 h 488272"/>
              <a:gd name="connsiteX0" fmla="*/ 0 w 285037"/>
              <a:gd name="connsiteY0" fmla="*/ 0 h 494943"/>
              <a:gd name="connsiteX1" fmla="*/ 268989 w 285037"/>
              <a:gd name="connsiteY1" fmla="*/ 201979 h 494943"/>
              <a:gd name="connsiteX2" fmla="*/ 224601 w 285037"/>
              <a:gd name="connsiteY2" fmla="*/ 494943 h 494943"/>
              <a:gd name="connsiteX0" fmla="*/ 0 w 285037"/>
              <a:gd name="connsiteY0" fmla="*/ 0 h 494943"/>
              <a:gd name="connsiteX1" fmla="*/ 268989 w 285037"/>
              <a:gd name="connsiteY1" fmla="*/ 208652 h 494943"/>
              <a:gd name="connsiteX2" fmla="*/ 224601 w 285037"/>
              <a:gd name="connsiteY2" fmla="*/ 494943 h 494943"/>
              <a:gd name="connsiteX0" fmla="*/ 0 w 288537"/>
              <a:gd name="connsiteY0" fmla="*/ 0 h 501616"/>
              <a:gd name="connsiteX1" fmla="*/ 268989 w 288537"/>
              <a:gd name="connsiteY1" fmla="*/ 208652 h 501616"/>
              <a:gd name="connsiteX2" fmla="*/ 239697 w 288537"/>
              <a:gd name="connsiteY2" fmla="*/ 501616 h 501616"/>
            </a:gdLst>
            <a:ahLst/>
            <a:cxnLst>
              <a:cxn ang="0">
                <a:pos x="connsiteX0" y="connsiteY0"/>
              </a:cxn>
              <a:cxn ang="0">
                <a:pos x="connsiteX1" y="connsiteY1"/>
              </a:cxn>
              <a:cxn ang="0">
                <a:pos x="connsiteX2" y="connsiteY2"/>
              </a:cxn>
            </a:cxnLst>
            <a:rect l="l" t="t" r="r" b="b"/>
            <a:pathLst>
              <a:path w="288537" h="501616">
                <a:moveTo>
                  <a:pt x="0" y="0"/>
                </a:moveTo>
                <a:cubicBezTo>
                  <a:pt x="122067" y="56964"/>
                  <a:pt x="229039" y="127273"/>
                  <a:pt x="268989" y="208652"/>
                </a:cubicBezTo>
                <a:cubicBezTo>
                  <a:pt x="308939" y="290031"/>
                  <a:pt x="281866" y="395823"/>
                  <a:pt x="239697" y="501616"/>
                </a:cubicBezTo>
              </a:path>
            </a:pathLst>
          </a:custGeom>
          <a:noFill/>
          <a:ln w="95250" cap="flat">
            <a:solidFill>
              <a:srgbClr val="FFC000"/>
            </a:solidFill>
            <a:prstDash val="solid"/>
            <a:miter/>
            <a:headEnd type="none" w="med" len="med"/>
            <a:tailEnd type="triangle" w="med" len="med"/>
          </a:ln>
        </p:spPr>
        <p:txBody>
          <a:bodyPr rtlCol="0" anchor="ctr"/>
          <a:lstStyle/>
          <a:p>
            <a:pPr algn="ctr"/>
            <a:endParaRPr lang="nl-NL" dirty="0"/>
          </a:p>
        </p:txBody>
      </p:sp>
      <p:sp>
        <p:nvSpPr>
          <p:cNvPr id="138" name="Freeform: Shape 137">
            <a:extLst>
              <a:ext uri="{FF2B5EF4-FFF2-40B4-BE49-F238E27FC236}">
                <a16:creationId xmlns:a16="http://schemas.microsoft.com/office/drawing/2014/main" id="{0D374102-D52D-4B74-BA8A-4D72C75AF28C}"/>
              </a:ext>
            </a:extLst>
          </p:cNvPr>
          <p:cNvSpPr/>
          <p:nvPr/>
        </p:nvSpPr>
        <p:spPr>
          <a:xfrm rot="5741782" flipV="1">
            <a:off x="7388042" y="3249348"/>
            <a:ext cx="561161" cy="1224260"/>
          </a:xfrm>
          <a:custGeom>
            <a:avLst/>
            <a:gdLst>
              <a:gd name="connsiteX0" fmla="*/ 0 w 300133"/>
              <a:gd name="connsiteY0" fmla="*/ 0 h 488272"/>
              <a:gd name="connsiteX1" fmla="*/ 284085 w 300133"/>
              <a:gd name="connsiteY1" fmla="*/ 195308 h 488272"/>
              <a:gd name="connsiteX2" fmla="*/ 239697 w 300133"/>
              <a:gd name="connsiteY2" fmla="*/ 488272 h 488272"/>
              <a:gd name="connsiteX0" fmla="*/ 0 w 285037"/>
              <a:gd name="connsiteY0" fmla="*/ 0 h 494943"/>
              <a:gd name="connsiteX1" fmla="*/ 268989 w 285037"/>
              <a:gd name="connsiteY1" fmla="*/ 201979 h 494943"/>
              <a:gd name="connsiteX2" fmla="*/ 224601 w 285037"/>
              <a:gd name="connsiteY2" fmla="*/ 494943 h 494943"/>
              <a:gd name="connsiteX0" fmla="*/ 0 w 285037"/>
              <a:gd name="connsiteY0" fmla="*/ 0 h 494943"/>
              <a:gd name="connsiteX1" fmla="*/ 268989 w 285037"/>
              <a:gd name="connsiteY1" fmla="*/ 208652 h 494943"/>
              <a:gd name="connsiteX2" fmla="*/ 224601 w 285037"/>
              <a:gd name="connsiteY2" fmla="*/ 494943 h 494943"/>
              <a:gd name="connsiteX0" fmla="*/ 0 w 288537"/>
              <a:gd name="connsiteY0" fmla="*/ 0 h 501616"/>
              <a:gd name="connsiteX1" fmla="*/ 268989 w 288537"/>
              <a:gd name="connsiteY1" fmla="*/ 208652 h 501616"/>
              <a:gd name="connsiteX2" fmla="*/ 239697 w 288537"/>
              <a:gd name="connsiteY2" fmla="*/ 501616 h 501616"/>
            </a:gdLst>
            <a:ahLst/>
            <a:cxnLst>
              <a:cxn ang="0">
                <a:pos x="connsiteX0" y="connsiteY0"/>
              </a:cxn>
              <a:cxn ang="0">
                <a:pos x="connsiteX1" y="connsiteY1"/>
              </a:cxn>
              <a:cxn ang="0">
                <a:pos x="connsiteX2" y="connsiteY2"/>
              </a:cxn>
            </a:cxnLst>
            <a:rect l="l" t="t" r="r" b="b"/>
            <a:pathLst>
              <a:path w="288537" h="501616">
                <a:moveTo>
                  <a:pt x="0" y="0"/>
                </a:moveTo>
                <a:cubicBezTo>
                  <a:pt x="122067" y="56964"/>
                  <a:pt x="229039" y="127273"/>
                  <a:pt x="268989" y="208652"/>
                </a:cubicBezTo>
                <a:cubicBezTo>
                  <a:pt x="308939" y="290031"/>
                  <a:pt x="281866" y="395823"/>
                  <a:pt x="239697" y="501616"/>
                </a:cubicBezTo>
              </a:path>
            </a:pathLst>
          </a:custGeom>
          <a:noFill/>
          <a:ln w="76200" cap="flat">
            <a:solidFill>
              <a:srgbClr val="FFC000"/>
            </a:solidFill>
            <a:prstDash val="solid"/>
            <a:miter/>
            <a:headEnd type="none" w="med" len="med"/>
            <a:tailEnd type="triangle" w="med" len="med"/>
          </a:ln>
        </p:spPr>
        <p:txBody>
          <a:bodyPr rtlCol="0" anchor="ctr"/>
          <a:lstStyle/>
          <a:p>
            <a:pPr algn="ctr"/>
            <a:endParaRPr lang="nl-NL" dirty="0"/>
          </a:p>
        </p:txBody>
      </p:sp>
      <p:sp>
        <p:nvSpPr>
          <p:cNvPr id="139" name="Freeform: Shape 138">
            <a:extLst>
              <a:ext uri="{FF2B5EF4-FFF2-40B4-BE49-F238E27FC236}">
                <a16:creationId xmlns:a16="http://schemas.microsoft.com/office/drawing/2014/main" id="{5B84FF7E-01E1-479C-A4DE-3BE6905AE450}"/>
              </a:ext>
            </a:extLst>
          </p:cNvPr>
          <p:cNvSpPr/>
          <p:nvPr/>
        </p:nvSpPr>
        <p:spPr>
          <a:xfrm rot="6793962" flipV="1">
            <a:off x="7237582" y="3375440"/>
            <a:ext cx="769160" cy="1741289"/>
          </a:xfrm>
          <a:custGeom>
            <a:avLst/>
            <a:gdLst>
              <a:gd name="connsiteX0" fmla="*/ 0 w 300133"/>
              <a:gd name="connsiteY0" fmla="*/ 0 h 488272"/>
              <a:gd name="connsiteX1" fmla="*/ 284085 w 300133"/>
              <a:gd name="connsiteY1" fmla="*/ 195308 h 488272"/>
              <a:gd name="connsiteX2" fmla="*/ 239697 w 300133"/>
              <a:gd name="connsiteY2" fmla="*/ 488272 h 488272"/>
              <a:gd name="connsiteX0" fmla="*/ 0 w 285037"/>
              <a:gd name="connsiteY0" fmla="*/ 0 h 494943"/>
              <a:gd name="connsiteX1" fmla="*/ 268989 w 285037"/>
              <a:gd name="connsiteY1" fmla="*/ 201979 h 494943"/>
              <a:gd name="connsiteX2" fmla="*/ 224601 w 285037"/>
              <a:gd name="connsiteY2" fmla="*/ 494943 h 494943"/>
              <a:gd name="connsiteX0" fmla="*/ 0 w 285037"/>
              <a:gd name="connsiteY0" fmla="*/ 0 h 494943"/>
              <a:gd name="connsiteX1" fmla="*/ 268989 w 285037"/>
              <a:gd name="connsiteY1" fmla="*/ 208652 h 494943"/>
              <a:gd name="connsiteX2" fmla="*/ 224601 w 285037"/>
              <a:gd name="connsiteY2" fmla="*/ 494943 h 494943"/>
              <a:gd name="connsiteX0" fmla="*/ 0 w 288537"/>
              <a:gd name="connsiteY0" fmla="*/ 0 h 501616"/>
              <a:gd name="connsiteX1" fmla="*/ 268989 w 288537"/>
              <a:gd name="connsiteY1" fmla="*/ 208652 h 501616"/>
              <a:gd name="connsiteX2" fmla="*/ 239697 w 288537"/>
              <a:gd name="connsiteY2" fmla="*/ 501616 h 501616"/>
            </a:gdLst>
            <a:ahLst/>
            <a:cxnLst>
              <a:cxn ang="0">
                <a:pos x="connsiteX0" y="connsiteY0"/>
              </a:cxn>
              <a:cxn ang="0">
                <a:pos x="connsiteX1" y="connsiteY1"/>
              </a:cxn>
              <a:cxn ang="0">
                <a:pos x="connsiteX2" y="connsiteY2"/>
              </a:cxn>
            </a:cxnLst>
            <a:rect l="l" t="t" r="r" b="b"/>
            <a:pathLst>
              <a:path w="288537" h="501616">
                <a:moveTo>
                  <a:pt x="0" y="0"/>
                </a:moveTo>
                <a:cubicBezTo>
                  <a:pt x="122067" y="56964"/>
                  <a:pt x="229039" y="127273"/>
                  <a:pt x="268989" y="208652"/>
                </a:cubicBezTo>
                <a:cubicBezTo>
                  <a:pt x="308939" y="290031"/>
                  <a:pt x="281866" y="395823"/>
                  <a:pt x="239697" y="501616"/>
                </a:cubicBezTo>
              </a:path>
            </a:pathLst>
          </a:custGeom>
          <a:noFill/>
          <a:ln w="57150" cap="flat">
            <a:solidFill>
              <a:srgbClr val="FFC000"/>
            </a:solidFill>
            <a:prstDash val="solid"/>
            <a:miter/>
            <a:headEnd type="none" w="med" len="med"/>
            <a:tailEnd type="triangle" w="med" len="med"/>
          </a:ln>
        </p:spPr>
        <p:txBody>
          <a:bodyPr rtlCol="0" anchor="ctr"/>
          <a:lstStyle/>
          <a:p>
            <a:pPr algn="ctr"/>
            <a:endParaRPr lang="nl-NL" dirty="0"/>
          </a:p>
        </p:txBody>
      </p:sp>
      <p:sp>
        <p:nvSpPr>
          <p:cNvPr id="146" name="TextBox 145">
            <a:extLst>
              <a:ext uri="{FF2B5EF4-FFF2-40B4-BE49-F238E27FC236}">
                <a16:creationId xmlns:a16="http://schemas.microsoft.com/office/drawing/2014/main" id="{DBD46899-71EF-4B91-A91B-239257D1A8F9}"/>
              </a:ext>
            </a:extLst>
          </p:cNvPr>
          <p:cNvSpPr txBox="1"/>
          <p:nvPr/>
        </p:nvSpPr>
        <p:spPr>
          <a:xfrm>
            <a:off x="658813" y="3331787"/>
            <a:ext cx="4818256" cy="1200329"/>
          </a:xfrm>
          <a:prstGeom prst="rect">
            <a:avLst/>
          </a:prstGeom>
          <a:noFill/>
        </p:spPr>
        <p:txBody>
          <a:bodyPr wrap="square" anchor="ctr">
            <a:spAutoFit/>
          </a:bodyPr>
          <a:lstStyle/>
          <a:p>
            <a:pPr marL="0" indent="0">
              <a:buNone/>
            </a:pPr>
            <a:r>
              <a:rPr lang="nl-NL" sz="1600" dirty="0"/>
              <a:t>Voor begrip van het gemeentefonds zijn 2 modellen relevant; een </a:t>
            </a:r>
            <a:r>
              <a:rPr lang="nl-NL" sz="1600" b="1" dirty="0" err="1"/>
              <a:t>omvangsmodel</a:t>
            </a:r>
            <a:r>
              <a:rPr lang="nl-NL" sz="1600" b="1" dirty="0"/>
              <a:t> </a:t>
            </a:r>
            <a:r>
              <a:rPr lang="nl-NL" sz="1600" dirty="0"/>
              <a:t>die de omvang van de totale algemene uitkering bepaalt en een </a:t>
            </a:r>
            <a:r>
              <a:rPr lang="nl-NL" sz="1600" b="1" dirty="0"/>
              <a:t>verdeelmodel </a:t>
            </a:r>
            <a:r>
              <a:rPr lang="nl-NL" sz="1600" dirty="0"/>
              <a:t>die de verdeling van deze uitkering over alle gemeenten bepaalt.</a:t>
            </a:r>
          </a:p>
        </p:txBody>
      </p:sp>
      <p:pic>
        <p:nvPicPr>
          <p:cNvPr id="114688" name="Picture 114687" descr="Icon&#10;&#10;Description automatically generated">
            <a:extLst>
              <a:ext uri="{FF2B5EF4-FFF2-40B4-BE49-F238E27FC236}">
                <a16:creationId xmlns:a16="http://schemas.microsoft.com/office/drawing/2014/main" id="{AC500C8E-B544-4952-95F2-05DCC45D69BF}"/>
              </a:ext>
            </a:extLst>
          </p:cNvPr>
          <p:cNvPicPr>
            <a:picLocks noChangeAspect="1"/>
          </p:cNvPicPr>
          <p:nvPr/>
        </p:nvPicPr>
        <p:blipFill>
          <a:blip r:embed="rId6">
            <a:extLst>
              <a:ext uri="{BEBA8EAE-BF5A-486C-A8C5-ECC9F3942E4B}">
                <a14:imgProps xmlns:a14="http://schemas.microsoft.com/office/drawing/2010/main">
                  <a14:imgLayer r:embed="rId7">
                    <a14:imgEffect>
                      <a14:colorTemperature colorTemp="5050"/>
                    </a14:imgEffect>
                    <a14:imgEffect>
                      <a14:saturation sat="66000"/>
                    </a14:imgEffect>
                  </a14:imgLayer>
                </a14:imgProps>
              </a:ext>
            </a:extLst>
          </a:blip>
          <a:stretch>
            <a:fillRect/>
          </a:stretch>
        </p:blipFill>
        <p:spPr>
          <a:xfrm>
            <a:off x="6291165" y="2094369"/>
            <a:ext cx="1330117" cy="1330117"/>
          </a:xfrm>
          <a:prstGeom prst="rect">
            <a:avLst/>
          </a:prstGeom>
          <a:noFill/>
          <a:extLst>
            <a:ext uri="{909E8E84-426E-40DD-AFC4-6F175D3DCCD1}">
              <a14:hiddenFill xmlns:a14="http://schemas.microsoft.com/office/drawing/2010/main">
                <a:solidFill>
                  <a:srgbClr val="22777B"/>
                </a:solidFill>
              </a14:hiddenFill>
            </a:ext>
          </a:extLst>
        </p:spPr>
      </p:pic>
      <p:sp>
        <p:nvSpPr>
          <p:cNvPr id="82" name="Rectangle 81">
            <a:extLst>
              <a:ext uri="{FF2B5EF4-FFF2-40B4-BE49-F238E27FC236}">
                <a16:creationId xmlns:a16="http://schemas.microsoft.com/office/drawing/2014/main" id="{EAF048AB-1D01-44C3-8851-12572AE45243}"/>
              </a:ext>
            </a:extLst>
          </p:cNvPr>
          <p:cNvSpPr/>
          <p:nvPr/>
        </p:nvSpPr>
        <p:spPr>
          <a:xfrm>
            <a:off x="8135402" y="3490686"/>
            <a:ext cx="273210" cy="248572"/>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95" name="Picture 94" descr="Icon&#10;&#10;Description automatically generated">
            <a:extLst>
              <a:ext uri="{FF2B5EF4-FFF2-40B4-BE49-F238E27FC236}">
                <a16:creationId xmlns:a16="http://schemas.microsoft.com/office/drawing/2014/main" id="{97596C08-D990-411C-874C-879BC867245F}"/>
              </a:ext>
            </a:extLst>
          </p:cNvPr>
          <p:cNvPicPr>
            <a:picLocks noChangeAspect="1"/>
          </p:cNvPicPr>
          <p:nvPr/>
        </p:nvPicPr>
        <p:blipFill>
          <a:blip r:embed="rId6">
            <a:extLst>
              <a:ext uri="{BEBA8EAE-BF5A-486C-A8C5-ECC9F3942E4B}">
                <a14:imgProps xmlns:a14="http://schemas.microsoft.com/office/drawing/2010/main">
                  <a14:imgLayer r:embed="rId7">
                    <a14:imgEffect>
                      <a14:colorTemperature colorTemp="5050"/>
                    </a14:imgEffect>
                    <a14:imgEffect>
                      <a14:saturation sat="66000"/>
                    </a14:imgEffect>
                  </a14:imgLayer>
                </a14:imgProps>
              </a:ext>
            </a:extLst>
          </a:blip>
          <a:stretch>
            <a:fillRect/>
          </a:stretch>
        </p:blipFill>
        <p:spPr>
          <a:xfrm>
            <a:off x="8009529" y="3275825"/>
            <a:ext cx="494414" cy="494414"/>
          </a:xfrm>
          <a:prstGeom prst="rect">
            <a:avLst/>
          </a:prstGeom>
          <a:noFill/>
          <a:extLst>
            <a:ext uri="{909E8E84-426E-40DD-AFC4-6F175D3DCCD1}">
              <a14:hiddenFill xmlns:a14="http://schemas.microsoft.com/office/drawing/2010/main">
                <a:solidFill>
                  <a:srgbClr val="22777B"/>
                </a:solidFill>
              </a14:hiddenFill>
            </a:ext>
          </a:extLst>
        </p:spPr>
      </p:pic>
      <p:grpSp>
        <p:nvGrpSpPr>
          <p:cNvPr id="98" name="Group 97">
            <a:extLst>
              <a:ext uri="{FF2B5EF4-FFF2-40B4-BE49-F238E27FC236}">
                <a16:creationId xmlns:a16="http://schemas.microsoft.com/office/drawing/2014/main" id="{11213CEB-541F-4AD5-9A87-16E39C727038}"/>
              </a:ext>
            </a:extLst>
          </p:cNvPr>
          <p:cNvGrpSpPr/>
          <p:nvPr/>
        </p:nvGrpSpPr>
        <p:grpSpPr>
          <a:xfrm>
            <a:off x="8292513" y="3821482"/>
            <a:ext cx="387806" cy="387806"/>
            <a:chOff x="8855555" y="3333949"/>
            <a:chExt cx="399103" cy="399103"/>
          </a:xfrm>
        </p:grpSpPr>
        <p:sp>
          <p:nvSpPr>
            <p:cNvPr id="99" name="Rectangle 98">
              <a:extLst>
                <a:ext uri="{FF2B5EF4-FFF2-40B4-BE49-F238E27FC236}">
                  <a16:creationId xmlns:a16="http://schemas.microsoft.com/office/drawing/2014/main" id="{3092900F-5D1F-4484-AAFC-557E65DE4842}"/>
                </a:ext>
              </a:extLst>
            </p:cNvPr>
            <p:cNvSpPr/>
            <p:nvPr/>
          </p:nvSpPr>
          <p:spPr>
            <a:xfrm>
              <a:off x="8957163" y="3507390"/>
              <a:ext cx="220542" cy="200653"/>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100" name="Picture 99" descr="Icon&#10;&#10;Description automatically generated">
              <a:extLst>
                <a:ext uri="{FF2B5EF4-FFF2-40B4-BE49-F238E27FC236}">
                  <a16:creationId xmlns:a16="http://schemas.microsoft.com/office/drawing/2014/main" id="{583E1582-E404-4C09-AE9B-9FDDBD73E9E8}"/>
                </a:ext>
              </a:extLst>
            </p:cNvPr>
            <p:cNvPicPr>
              <a:picLocks noChangeAspect="1"/>
            </p:cNvPicPr>
            <p:nvPr/>
          </p:nvPicPr>
          <p:blipFill>
            <a:blip r:embed="rId6">
              <a:extLst>
                <a:ext uri="{BEBA8EAE-BF5A-486C-A8C5-ECC9F3942E4B}">
                  <a14:imgProps xmlns:a14="http://schemas.microsoft.com/office/drawing/2010/main">
                    <a14:imgLayer r:embed="rId7">
                      <a14:imgEffect>
                        <a14:colorTemperature colorTemp="5050"/>
                      </a14:imgEffect>
                      <a14:imgEffect>
                        <a14:saturation sat="66000"/>
                      </a14:imgEffect>
                    </a14:imgLayer>
                  </a14:imgProps>
                </a:ext>
              </a:extLst>
            </a:blip>
            <a:stretch>
              <a:fillRect/>
            </a:stretch>
          </p:blipFill>
          <p:spPr>
            <a:xfrm>
              <a:off x="8855555" y="3333949"/>
              <a:ext cx="399103" cy="399103"/>
            </a:xfrm>
            <a:prstGeom prst="rect">
              <a:avLst/>
            </a:prstGeom>
            <a:noFill/>
            <a:extLst>
              <a:ext uri="{909E8E84-426E-40DD-AFC4-6F175D3DCCD1}">
                <a14:hiddenFill xmlns:a14="http://schemas.microsoft.com/office/drawing/2010/main">
                  <a:solidFill>
                    <a:srgbClr val="22777B"/>
                  </a:solidFill>
                </a14:hiddenFill>
              </a:ext>
            </a:extLst>
          </p:spPr>
        </p:pic>
      </p:grpSp>
      <p:grpSp>
        <p:nvGrpSpPr>
          <p:cNvPr id="101" name="Group 100">
            <a:extLst>
              <a:ext uri="{FF2B5EF4-FFF2-40B4-BE49-F238E27FC236}">
                <a16:creationId xmlns:a16="http://schemas.microsoft.com/office/drawing/2014/main" id="{1A312043-83A0-451F-936A-15F79950485B}"/>
              </a:ext>
            </a:extLst>
          </p:cNvPr>
          <p:cNvGrpSpPr/>
          <p:nvPr/>
        </p:nvGrpSpPr>
        <p:grpSpPr>
          <a:xfrm>
            <a:off x="8353594" y="4622060"/>
            <a:ext cx="331886" cy="331886"/>
            <a:chOff x="8855555" y="3333949"/>
            <a:chExt cx="399103" cy="399103"/>
          </a:xfrm>
        </p:grpSpPr>
        <p:sp>
          <p:nvSpPr>
            <p:cNvPr id="102" name="Rectangle 101">
              <a:extLst>
                <a:ext uri="{FF2B5EF4-FFF2-40B4-BE49-F238E27FC236}">
                  <a16:creationId xmlns:a16="http://schemas.microsoft.com/office/drawing/2014/main" id="{54C5CB8C-B6A7-435E-84BE-FE9E178B9974}"/>
                </a:ext>
              </a:extLst>
            </p:cNvPr>
            <p:cNvSpPr/>
            <p:nvPr/>
          </p:nvSpPr>
          <p:spPr>
            <a:xfrm>
              <a:off x="8957163" y="3507390"/>
              <a:ext cx="220542" cy="200653"/>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103" name="Picture 102" descr="Icon&#10;&#10;Description automatically generated">
              <a:extLst>
                <a:ext uri="{FF2B5EF4-FFF2-40B4-BE49-F238E27FC236}">
                  <a16:creationId xmlns:a16="http://schemas.microsoft.com/office/drawing/2014/main" id="{D0CB39ED-182E-4AF3-BFAC-89E984E30127}"/>
                </a:ext>
              </a:extLst>
            </p:cNvPr>
            <p:cNvPicPr>
              <a:picLocks noChangeAspect="1"/>
            </p:cNvPicPr>
            <p:nvPr/>
          </p:nvPicPr>
          <p:blipFill>
            <a:blip r:embed="rId6">
              <a:extLst>
                <a:ext uri="{BEBA8EAE-BF5A-486C-A8C5-ECC9F3942E4B}">
                  <a14:imgProps xmlns:a14="http://schemas.microsoft.com/office/drawing/2010/main">
                    <a14:imgLayer r:embed="rId7">
                      <a14:imgEffect>
                        <a14:colorTemperature colorTemp="5050"/>
                      </a14:imgEffect>
                      <a14:imgEffect>
                        <a14:saturation sat="66000"/>
                      </a14:imgEffect>
                    </a14:imgLayer>
                  </a14:imgProps>
                </a:ext>
              </a:extLst>
            </a:blip>
            <a:stretch>
              <a:fillRect/>
            </a:stretch>
          </p:blipFill>
          <p:spPr>
            <a:xfrm>
              <a:off x="8855555" y="3333949"/>
              <a:ext cx="399103" cy="399103"/>
            </a:xfrm>
            <a:prstGeom prst="rect">
              <a:avLst/>
            </a:prstGeom>
            <a:noFill/>
            <a:extLst>
              <a:ext uri="{909E8E84-426E-40DD-AFC4-6F175D3DCCD1}">
                <a14:hiddenFill xmlns:a14="http://schemas.microsoft.com/office/drawing/2010/main">
                  <a:solidFill>
                    <a:srgbClr val="22777B"/>
                  </a:solidFill>
                </a14:hiddenFill>
              </a:ext>
            </a:extLst>
          </p:spPr>
        </p:pic>
      </p:grpSp>
      <p:sp>
        <p:nvSpPr>
          <p:cNvPr id="2" name="Rectangle: Rounded Corners 1">
            <a:extLst>
              <a:ext uri="{FF2B5EF4-FFF2-40B4-BE49-F238E27FC236}">
                <a16:creationId xmlns:a16="http://schemas.microsoft.com/office/drawing/2014/main" id="{2FCCE4D0-6AD3-40D7-9529-192543799F7A}"/>
              </a:ext>
            </a:extLst>
          </p:cNvPr>
          <p:cNvSpPr/>
          <p:nvPr/>
        </p:nvSpPr>
        <p:spPr>
          <a:xfrm>
            <a:off x="5994400" y="1671408"/>
            <a:ext cx="1757332" cy="285860"/>
          </a:xfrm>
          <a:prstGeom prst="roundRect">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1.Omvangsmodel</a:t>
            </a:r>
          </a:p>
        </p:txBody>
      </p:sp>
      <p:sp>
        <p:nvSpPr>
          <p:cNvPr id="81" name="Rectangle: Rounded Corners 80">
            <a:extLst>
              <a:ext uri="{FF2B5EF4-FFF2-40B4-BE49-F238E27FC236}">
                <a16:creationId xmlns:a16="http://schemas.microsoft.com/office/drawing/2014/main" id="{8C922374-27D6-4D00-88DB-4442C5F26D29}"/>
              </a:ext>
            </a:extLst>
          </p:cNvPr>
          <p:cNvSpPr/>
          <p:nvPr/>
        </p:nvSpPr>
        <p:spPr>
          <a:xfrm>
            <a:off x="5994400" y="4249714"/>
            <a:ext cx="1757332" cy="285860"/>
          </a:xfrm>
          <a:prstGeom prst="roundRect">
            <a:avLst/>
          </a:prstGeom>
          <a:solidFill>
            <a:srgbClr val="FFC000"/>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2. Verdeelmodel</a:t>
            </a:r>
          </a:p>
        </p:txBody>
      </p:sp>
    </p:spTree>
    <p:extLst>
      <p:ext uri="{BB962C8B-B14F-4D97-AF65-F5344CB8AC3E}">
        <p14:creationId xmlns:p14="http://schemas.microsoft.com/office/powerpoint/2010/main" val="23327594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09D601E8-CEAF-4BF0-89D2-FCCA946FDD47}"/>
              </a:ext>
            </a:extLst>
          </p:cNvPr>
          <p:cNvGraphicFramePr>
            <a:graphicFrameLocks noChangeAspect="1"/>
          </p:cNvGraphicFramePr>
          <p:nvPr>
            <p:custDataLst>
              <p:tags r:id="rId2"/>
            </p:custDataLst>
            <p:extLst>
              <p:ext uri="{D42A27DB-BD31-4B8C-83A1-F6EECF244321}">
                <p14:modId xmlns:p14="http://schemas.microsoft.com/office/powerpoint/2010/main" val="427428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4" name="think-cell Slide" r:id="rId5" imgW="501" imgH="502" progId="TCLayout.ActiveDocument.1">
                  <p:embed/>
                </p:oleObj>
              </mc:Choice>
              <mc:Fallback>
                <p:oleObj name="think-cell Slide" r:id="rId5" imgW="501" imgH="502" progId="TCLayout.ActiveDocument.1">
                  <p:embed/>
                  <p:pic>
                    <p:nvPicPr>
                      <p:cNvPr id="23" name="Object 22" hidden="1">
                        <a:extLst>
                          <a:ext uri="{FF2B5EF4-FFF2-40B4-BE49-F238E27FC236}">
                            <a16:creationId xmlns:a16="http://schemas.microsoft.com/office/drawing/2014/main" id="{09D601E8-CEAF-4BF0-89D2-FCCA946FDD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AB347951-8EA8-4FE3-8C94-A561FB835C78}"/>
              </a:ext>
            </a:extLst>
          </p:cNvPr>
          <p:cNvGrpSpPr/>
          <p:nvPr/>
        </p:nvGrpSpPr>
        <p:grpSpPr>
          <a:xfrm>
            <a:off x="1792909" y="3021771"/>
            <a:ext cx="2280379" cy="2280379"/>
            <a:chOff x="2040520" y="3102092"/>
            <a:chExt cx="2127115" cy="2127115"/>
          </a:xfrm>
        </p:grpSpPr>
        <p:grpSp>
          <p:nvGrpSpPr>
            <p:cNvPr id="22" name="Group 21">
              <a:extLst>
                <a:ext uri="{FF2B5EF4-FFF2-40B4-BE49-F238E27FC236}">
                  <a16:creationId xmlns:a16="http://schemas.microsoft.com/office/drawing/2014/main" id="{9A9014E0-3BF5-4A88-8706-FF53A9522869}"/>
                </a:ext>
              </a:extLst>
            </p:cNvPr>
            <p:cNvGrpSpPr/>
            <p:nvPr/>
          </p:nvGrpSpPr>
          <p:grpSpPr>
            <a:xfrm>
              <a:off x="2040520" y="3102092"/>
              <a:ext cx="2127115" cy="2127115"/>
              <a:chOff x="3818520" y="3389348"/>
              <a:chExt cx="2127115" cy="2127115"/>
            </a:xfrm>
          </p:grpSpPr>
          <p:sp>
            <p:nvSpPr>
              <p:cNvPr id="20" name="Flowchart: Connector 19">
                <a:extLst>
                  <a:ext uri="{FF2B5EF4-FFF2-40B4-BE49-F238E27FC236}">
                    <a16:creationId xmlns:a16="http://schemas.microsoft.com/office/drawing/2014/main" id="{25B70F38-733E-440A-90A4-CBE701495E37}"/>
                  </a:ext>
                </a:extLst>
              </p:cNvPr>
              <p:cNvSpPr/>
              <p:nvPr/>
            </p:nvSpPr>
            <p:spPr>
              <a:xfrm>
                <a:off x="3818520" y="3389348"/>
                <a:ext cx="2127115" cy="2127115"/>
              </a:xfrm>
              <a:prstGeom prst="flowChartConnector">
                <a:avLst/>
              </a:prstGeom>
              <a:solidFill>
                <a:srgbClr val="95C5C9">
                  <a:alpha val="50000"/>
                </a:srgbClr>
              </a:solidFill>
              <a:ln w="28575"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p>
            </p:txBody>
          </p:sp>
          <p:sp>
            <p:nvSpPr>
              <p:cNvPr id="21" name="TextBox 20">
                <a:extLst>
                  <a:ext uri="{FF2B5EF4-FFF2-40B4-BE49-F238E27FC236}">
                    <a16:creationId xmlns:a16="http://schemas.microsoft.com/office/drawing/2014/main" id="{F4D4744E-A412-4DD2-B5CF-C3C11CDE2327}"/>
                  </a:ext>
                </a:extLst>
              </p:cNvPr>
              <p:cNvSpPr txBox="1"/>
              <p:nvPr/>
            </p:nvSpPr>
            <p:spPr>
              <a:xfrm>
                <a:off x="4052577" y="4240912"/>
                <a:ext cx="1746365" cy="569707"/>
              </a:xfrm>
              <a:prstGeom prst="rect">
                <a:avLst/>
              </a:prstGeom>
            </p:spPr>
            <p:txBody>
              <a:bodyPr vert="horz" wrap="square" lIns="91440" tIns="45720" rIns="91440" bIns="45720" rtlCol="0">
                <a:noAutofit/>
              </a:bodyPr>
              <a:lstStyle/>
              <a:p>
                <a:pPr algn="l"/>
                <a:endParaRPr lang="nl-NL" sz="1200" noProof="0" dirty="0"/>
              </a:p>
            </p:txBody>
          </p:sp>
        </p:grpSp>
        <p:sp>
          <p:nvSpPr>
            <p:cNvPr id="39" name="TextBox 38">
              <a:extLst>
                <a:ext uri="{FF2B5EF4-FFF2-40B4-BE49-F238E27FC236}">
                  <a16:creationId xmlns:a16="http://schemas.microsoft.com/office/drawing/2014/main" id="{25ECCC44-05E4-416A-88FD-4CA091385C32}"/>
                </a:ext>
              </a:extLst>
            </p:cNvPr>
            <p:cNvSpPr txBox="1"/>
            <p:nvPr/>
          </p:nvSpPr>
          <p:spPr>
            <a:xfrm>
              <a:off x="2184634" y="4165649"/>
              <a:ext cx="1908429" cy="447861"/>
            </a:xfrm>
            <a:prstGeom prst="rect">
              <a:avLst/>
            </a:prstGeom>
            <a:noFill/>
          </p:spPr>
          <p:txBody>
            <a:bodyPr wrap="square">
              <a:spAutoFit/>
            </a:bodyPr>
            <a:lstStyle/>
            <a:p>
              <a:pPr marL="0" indent="0" algn="ctr">
                <a:buNone/>
              </a:pPr>
              <a:r>
                <a:rPr lang="nl-NL" b="1" dirty="0"/>
                <a:t>Verdeelmodel </a:t>
              </a:r>
              <a:br>
                <a:rPr lang="nl-NL" b="1" dirty="0"/>
              </a:br>
              <a:r>
                <a:rPr lang="nl-NL" b="1" dirty="0"/>
                <a:t>(werklast)</a:t>
              </a:r>
            </a:p>
          </p:txBody>
        </p:sp>
      </p:grpSp>
      <p:sp>
        <p:nvSpPr>
          <p:cNvPr id="48" name="Arc 47">
            <a:extLst>
              <a:ext uri="{FF2B5EF4-FFF2-40B4-BE49-F238E27FC236}">
                <a16:creationId xmlns:a16="http://schemas.microsoft.com/office/drawing/2014/main" id="{E3567492-2DF1-4A6E-94AB-AEF3BFC65A98}"/>
              </a:ext>
            </a:extLst>
          </p:cNvPr>
          <p:cNvSpPr/>
          <p:nvPr/>
        </p:nvSpPr>
        <p:spPr>
          <a:xfrm rot="8212054">
            <a:off x="4039333" y="3476740"/>
            <a:ext cx="801512" cy="816750"/>
          </a:xfrm>
          <a:prstGeom prst="arc">
            <a:avLst>
              <a:gd name="adj1" fmla="val 15929752"/>
              <a:gd name="adj2" fmla="val 0"/>
            </a:avLst>
          </a:prstGeom>
          <a:ln w="28575">
            <a:solidFill>
              <a:srgbClr val="22777B"/>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49" name="TextBox 48">
            <a:extLst>
              <a:ext uri="{FF2B5EF4-FFF2-40B4-BE49-F238E27FC236}">
                <a16:creationId xmlns:a16="http://schemas.microsoft.com/office/drawing/2014/main" id="{6EDC2B4A-F361-48FB-9C50-07A6BAE17714}"/>
              </a:ext>
            </a:extLst>
          </p:cNvPr>
          <p:cNvSpPr txBox="1"/>
          <p:nvPr/>
        </p:nvSpPr>
        <p:spPr>
          <a:xfrm>
            <a:off x="3860245" y="4314979"/>
            <a:ext cx="1160622" cy="424732"/>
          </a:xfrm>
          <a:prstGeom prst="rect">
            <a:avLst/>
          </a:prstGeom>
          <a:noFill/>
        </p:spPr>
        <p:txBody>
          <a:bodyPr wrap="square">
            <a:spAutoFit/>
          </a:bodyPr>
          <a:lstStyle/>
          <a:p>
            <a:pPr marL="0" indent="0" algn="ctr">
              <a:buNone/>
            </a:pPr>
            <a:r>
              <a:rPr lang="nl-NL" sz="1200" b="1" dirty="0"/>
              <a:t>Uitkerings-</a:t>
            </a:r>
            <a:br>
              <a:rPr lang="nl-NL" sz="1200" b="1" dirty="0"/>
            </a:br>
            <a:r>
              <a:rPr lang="nl-NL" sz="1200" b="1" dirty="0"/>
              <a:t>factor</a:t>
            </a:r>
          </a:p>
        </p:txBody>
      </p:sp>
      <p:sp>
        <p:nvSpPr>
          <p:cNvPr id="6" name="Text Placeholder 5">
            <a:extLst>
              <a:ext uri="{FF2B5EF4-FFF2-40B4-BE49-F238E27FC236}">
                <a16:creationId xmlns:a16="http://schemas.microsoft.com/office/drawing/2014/main" id="{DDF5FCA7-F66C-493B-986C-A78771903C56}"/>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4FEFA37D-DB95-4B20-95E0-D0DFC1E1B0FB}"/>
              </a:ext>
            </a:extLst>
          </p:cNvPr>
          <p:cNvSpPr>
            <a:spLocks noGrp="1"/>
          </p:cNvSpPr>
          <p:nvPr>
            <p:ph type="title"/>
          </p:nvPr>
        </p:nvSpPr>
        <p:spPr/>
        <p:txBody>
          <a:bodyPr vert="horz"/>
          <a:lstStyle/>
          <a:p>
            <a:r>
              <a:rPr lang="nl-NL" dirty="0"/>
              <a:t>Werking van het omvangsmodel</a:t>
            </a:r>
          </a:p>
        </p:txBody>
      </p:sp>
      <p:sp>
        <p:nvSpPr>
          <p:cNvPr id="10" name="Slide Number Placeholder 9">
            <a:extLst>
              <a:ext uri="{FF2B5EF4-FFF2-40B4-BE49-F238E27FC236}">
                <a16:creationId xmlns:a16="http://schemas.microsoft.com/office/drawing/2014/main" id="{A033506C-C991-4121-8F86-A78125FA0FE5}"/>
              </a:ext>
            </a:extLst>
          </p:cNvPr>
          <p:cNvSpPr>
            <a:spLocks noGrp="1"/>
          </p:cNvSpPr>
          <p:nvPr>
            <p:ph type="sldNum" sz="quarter" idx="12"/>
          </p:nvPr>
        </p:nvSpPr>
        <p:spPr/>
        <p:txBody>
          <a:bodyPr/>
          <a:lstStyle/>
          <a:p>
            <a:fld id="{992CD0B2-8AB2-4C6C-8876-E15753662C9B}" type="slidenum">
              <a:rPr lang="nl-NL" noProof="0" smtClean="0"/>
              <a:pPr/>
              <a:t>7</a:t>
            </a:fld>
            <a:endParaRPr lang="nl-NL" noProof="0" dirty="0"/>
          </a:p>
        </p:txBody>
      </p:sp>
      <p:sp>
        <p:nvSpPr>
          <p:cNvPr id="24" name="Rectangle 23">
            <a:extLst>
              <a:ext uri="{FF2B5EF4-FFF2-40B4-BE49-F238E27FC236}">
                <a16:creationId xmlns:a16="http://schemas.microsoft.com/office/drawing/2014/main" id="{E7DC859D-5DD7-4B9A-87C7-969D81226AC3}"/>
              </a:ext>
            </a:extLst>
          </p:cNvPr>
          <p:cNvSpPr/>
          <p:nvPr/>
        </p:nvSpPr>
        <p:spPr>
          <a:xfrm>
            <a:off x="1240645" y="2215669"/>
            <a:ext cx="4183570" cy="4002833"/>
          </a:xfrm>
          <a:prstGeom prst="rect">
            <a:avLst/>
          </a:prstGeom>
          <a:solidFill>
            <a:srgbClr val="FFFFFF">
              <a:alpha val="69804"/>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5" name="TextBox 24">
            <a:extLst>
              <a:ext uri="{FF2B5EF4-FFF2-40B4-BE49-F238E27FC236}">
                <a16:creationId xmlns:a16="http://schemas.microsoft.com/office/drawing/2014/main" id="{D83D26A9-658A-4726-A6A1-73BE9375AEC3}"/>
              </a:ext>
            </a:extLst>
          </p:cNvPr>
          <p:cNvSpPr txBox="1"/>
          <p:nvPr/>
        </p:nvSpPr>
        <p:spPr>
          <a:xfrm>
            <a:off x="4571976" y="2038884"/>
            <a:ext cx="1304956" cy="345098"/>
          </a:xfrm>
          <a:prstGeom prst="rect">
            <a:avLst/>
          </a:prstGeom>
        </p:spPr>
        <p:txBody>
          <a:bodyPr vert="horz" wrap="square" lIns="91440" tIns="45720" rIns="91440" bIns="45720" rtlCol="0">
            <a:noAutofit/>
          </a:bodyPr>
          <a:lstStyle/>
          <a:p>
            <a:pPr marL="0" indent="0" algn="ctr">
              <a:buNone/>
            </a:pPr>
            <a:r>
              <a:rPr lang="nl-NL" sz="1200" b="1" dirty="0"/>
              <a:t>Uitkerings-ontwikkeling (accres)</a:t>
            </a:r>
          </a:p>
          <a:p>
            <a:pPr marL="0" indent="0" algn="ctr">
              <a:buNone/>
            </a:pPr>
            <a:r>
              <a:rPr lang="nl-NL" sz="1200" b="1" dirty="0"/>
              <a:t>     </a:t>
            </a:r>
          </a:p>
        </p:txBody>
      </p:sp>
      <p:sp>
        <p:nvSpPr>
          <p:cNvPr id="27" name="Flowchart: Connector 26">
            <a:extLst>
              <a:ext uri="{FF2B5EF4-FFF2-40B4-BE49-F238E27FC236}">
                <a16:creationId xmlns:a16="http://schemas.microsoft.com/office/drawing/2014/main" id="{5B785F10-1CEE-406A-8DF6-1119AF6922CC}"/>
              </a:ext>
            </a:extLst>
          </p:cNvPr>
          <p:cNvSpPr/>
          <p:nvPr/>
        </p:nvSpPr>
        <p:spPr>
          <a:xfrm>
            <a:off x="5112460" y="1805918"/>
            <a:ext cx="223988" cy="223988"/>
          </a:xfrm>
          <a:prstGeom prst="flowChartConnector">
            <a:avLst/>
          </a:prstGeom>
          <a:solidFill>
            <a:srgbClr val="FFBD42"/>
          </a:solidFill>
          <a:ln w="19050" cap="flat">
            <a:noFill/>
            <a:prstDash val="solid"/>
            <a:miter/>
          </a:ln>
          <a:extLst>
            <a:ext uri="{91240B29-F687-4F45-9708-019B960494DF}">
              <a14:hiddenLine xmlns:a14="http://schemas.microsoft.com/office/drawing/2010/main" w="19050" cap="flat">
                <a:solidFill>
                  <a:schemeClr val="tx1"/>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1</a:t>
            </a:r>
          </a:p>
        </p:txBody>
      </p:sp>
      <p:sp>
        <p:nvSpPr>
          <p:cNvPr id="29" name="Freeform: Shape 28">
            <a:extLst>
              <a:ext uri="{FF2B5EF4-FFF2-40B4-BE49-F238E27FC236}">
                <a16:creationId xmlns:a16="http://schemas.microsoft.com/office/drawing/2014/main" id="{A7F30DB1-A68F-42F0-A0F2-186A1B159705}"/>
              </a:ext>
            </a:extLst>
          </p:cNvPr>
          <p:cNvSpPr/>
          <p:nvPr/>
        </p:nvSpPr>
        <p:spPr>
          <a:xfrm rot="5235456">
            <a:off x="4677587" y="2489896"/>
            <a:ext cx="346088" cy="680497"/>
          </a:xfrm>
          <a:custGeom>
            <a:avLst/>
            <a:gdLst>
              <a:gd name="connsiteX0" fmla="*/ 0 w 300133"/>
              <a:gd name="connsiteY0" fmla="*/ 0 h 488272"/>
              <a:gd name="connsiteX1" fmla="*/ 284085 w 300133"/>
              <a:gd name="connsiteY1" fmla="*/ 195308 h 488272"/>
              <a:gd name="connsiteX2" fmla="*/ 239697 w 300133"/>
              <a:gd name="connsiteY2" fmla="*/ 488272 h 488272"/>
              <a:gd name="connsiteX0" fmla="*/ 0 w 285037"/>
              <a:gd name="connsiteY0" fmla="*/ 0 h 494943"/>
              <a:gd name="connsiteX1" fmla="*/ 268989 w 285037"/>
              <a:gd name="connsiteY1" fmla="*/ 201979 h 494943"/>
              <a:gd name="connsiteX2" fmla="*/ 224601 w 285037"/>
              <a:gd name="connsiteY2" fmla="*/ 494943 h 494943"/>
              <a:gd name="connsiteX0" fmla="*/ 0 w 285037"/>
              <a:gd name="connsiteY0" fmla="*/ 0 h 494943"/>
              <a:gd name="connsiteX1" fmla="*/ 268989 w 285037"/>
              <a:gd name="connsiteY1" fmla="*/ 208652 h 494943"/>
              <a:gd name="connsiteX2" fmla="*/ 224601 w 285037"/>
              <a:gd name="connsiteY2" fmla="*/ 494943 h 494943"/>
              <a:gd name="connsiteX0" fmla="*/ 0 w 288537"/>
              <a:gd name="connsiteY0" fmla="*/ 0 h 501616"/>
              <a:gd name="connsiteX1" fmla="*/ 268989 w 288537"/>
              <a:gd name="connsiteY1" fmla="*/ 208652 h 501616"/>
              <a:gd name="connsiteX2" fmla="*/ 239697 w 288537"/>
              <a:gd name="connsiteY2" fmla="*/ 501616 h 501616"/>
            </a:gdLst>
            <a:ahLst/>
            <a:cxnLst>
              <a:cxn ang="0">
                <a:pos x="connsiteX0" y="connsiteY0"/>
              </a:cxn>
              <a:cxn ang="0">
                <a:pos x="connsiteX1" y="connsiteY1"/>
              </a:cxn>
              <a:cxn ang="0">
                <a:pos x="connsiteX2" y="connsiteY2"/>
              </a:cxn>
            </a:cxnLst>
            <a:rect l="l" t="t" r="r" b="b"/>
            <a:pathLst>
              <a:path w="288537" h="501616">
                <a:moveTo>
                  <a:pt x="0" y="0"/>
                </a:moveTo>
                <a:cubicBezTo>
                  <a:pt x="122067" y="56964"/>
                  <a:pt x="229039" y="127273"/>
                  <a:pt x="268989" y="208652"/>
                </a:cubicBezTo>
                <a:cubicBezTo>
                  <a:pt x="308939" y="290031"/>
                  <a:pt x="281866" y="395823"/>
                  <a:pt x="239697" y="501616"/>
                </a:cubicBezTo>
              </a:path>
            </a:pathLst>
          </a:custGeom>
          <a:noFill/>
          <a:ln w="19050" cap="flat">
            <a:solidFill>
              <a:srgbClr val="FFC000"/>
            </a:solidFill>
            <a:prstDash val="solid"/>
            <a:miter/>
            <a:headEnd type="none" w="med" len="med"/>
            <a:tailEnd type="triangle" w="med" len="med"/>
          </a:ln>
        </p:spPr>
        <p:txBody>
          <a:bodyPr rtlCol="0" anchor="ctr"/>
          <a:lstStyle/>
          <a:p>
            <a:pPr algn="ctr"/>
            <a:endParaRPr lang="nl-NL" dirty="0"/>
          </a:p>
        </p:txBody>
      </p:sp>
      <p:sp>
        <p:nvSpPr>
          <p:cNvPr id="30" name="Flowchart: Connector 29">
            <a:extLst>
              <a:ext uri="{FF2B5EF4-FFF2-40B4-BE49-F238E27FC236}">
                <a16:creationId xmlns:a16="http://schemas.microsoft.com/office/drawing/2014/main" id="{62B2F3AD-162C-4DDF-8CDC-A9D1447E13FD}"/>
              </a:ext>
            </a:extLst>
          </p:cNvPr>
          <p:cNvSpPr/>
          <p:nvPr/>
        </p:nvSpPr>
        <p:spPr>
          <a:xfrm>
            <a:off x="1052890" y="2277608"/>
            <a:ext cx="3760418" cy="3760418"/>
          </a:xfrm>
          <a:prstGeom prst="flowChartConnector">
            <a:avLst/>
          </a:prstGeom>
          <a:noFill/>
          <a:ln w="28575" cap="flat">
            <a:solidFill>
              <a:srgbClr val="22777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solidFill>
                <a:schemeClr val="tx1"/>
              </a:solidFill>
            </a:endParaRPr>
          </a:p>
        </p:txBody>
      </p:sp>
      <p:sp>
        <p:nvSpPr>
          <p:cNvPr id="31" name="TextBox 30">
            <a:extLst>
              <a:ext uri="{FF2B5EF4-FFF2-40B4-BE49-F238E27FC236}">
                <a16:creationId xmlns:a16="http://schemas.microsoft.com/office/drawing/2014/main" id="{7D744290-595B-4B5F-9201-6510B250A6DB}"/>
              </a:ext>
            </a:extLst>
          </p:cNvPr>
          <p:cNvSpPr txBox="1"/>
          <p:nvPr/>
        </p:nvSpPr>
        <p:spPr>
          <a:xfrm>
            <a:off x="1804712" y="2404555"/>
            <a:ext cx="2256774" cy="480131"/>
          </a:xfrm>
          <a:prstGeom prst="rect">
            <a:avLst/>
          </a:prstGeom>
          <a:noFill/>
        </p:spPr>
        <p:txBody>
          <a:bodyPr wrap="square">
            <a:spAutoFit/>
          </a:bodyPr>
          <a:lstStyle/>
          <a:p>
            <a:pPr marL="0" indent="0" algn="ctr">
              <a:buNone/>
            </a:pPr>
            <a:r>
              <a:rPr lang="nl-NL" b="1" dirty="0">
                <a:solidFill>
                  <a:schemeClr val="tx1"/>
                </a:solidFill>
              </a:rPr>
              <a:t>Algemene </a:t>
            </a:r>
            <a:br>
              <a:rPr lang="nl-NL" b="1" dirty="0">
                <a:solidFill>
                  <a:schemeClr val="tx1"/>
                </a:solidFill>
              </a:rPr>
            </a:br>
            <a:r>
              <a:rPr lang="nl-NL" b="1" dirty="0">
                <a:solidFill>
                  <a:schemeClr val="tx1"/>
                </a:solidFill>
              </a:rPr>
              <a:t>uitkering gemeentefonds</a:t>
            </a:r>
          </a:p>
        </p:txBody>
      </p:sp>
      <p:cxnSp>
        <p:nvCxnSpPr>
          <p:cNvPr id="28" name="Straight Connector 27">
            <a:extLst>
              <a:ext uri="{FF2B5EF4-FFF2-40B4-BE49-F238E27FC236}">
                <a16:creationId xmlns:a16="http://schemas.microsoft.com/office/drawing/2014/main" id="{36EFAAF1-3685-46FA-99EC-C76F03764EEC}"/>
              </a:ext>
            </a:extLst>
          </p:cNvPr>
          <p:cNvCxnSpPr>
            <a:cxnSpLocks/>
          </p:cNvCxnSpPr>
          <p:nvPr/>
        </p:nvCxnSpPr>
        <p:spPr>
          <a:xfrm flipV="1">
            <a:off x="4070023" y="2616014"/>
            <a:ext cx="522000" cy="504000"/>
          </a:xfrm>
          <a:prstGeom prst="line">
            <a:avLst/>
          </a:prstGeom>
          <a:ln w="66675">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Content Placeholder 29">
            <a:extLst>
              <a:ext uri="{FF2B5EF4-FFF2-40B4-BE49-F238E27FC236}">
                <a16:creationId xmlns:a16="http://schemas.microsoft.com/office/drawing/2014/main" id="{155F5BB8-1CB8-4741-9564-F0D5153D687A}"/>
              </a:ext>
            </a:extLst>
          </p:cNvPr>
          <p:cNvSpPr txBox="1">
            <a:spLocks/>
          </p:cNvSpPr>
          <p:nvPr/>
        </p:nvSpPr>
        <p:spPr>
          <a:xfrm>
            <a:off x="6095999" y="2696850"/>
            <a:ext cx="5507115" cy="3040470"/>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Omvangsmodel - uitkeringsontwikkeling (accres): </a:t>
            </a:r>
            <a:r>
              <a:rPr lang="nl-NL" dirty="0"/>
              <a:t>De ontwikkeling van de totale omvang van de algemene uitkering is gekoppeld aan de ontwikkeling van Rijksuitgaven. Geeft het Rijk meer uit in een jaar, dan groeit het gemeentefonds automatisch (en proportioneel) mee. Dit wordt ook wel het ‘samen-trap-op, samen-trap-af’ principe genoemd. </a:t>
            </a:r>
          </a:p>
          <a:p>
            <a:pPr marL="0" indent="0">
              <a:spcBef>
                <a:spcPts val="1200"/>
              </a:spcBef>
              <a:buNone/>
            </a:pPr>
            <a:r>
              <a:rPr lang="nl-NL" dirty="0"/>
              <a:t>Niet alle (maar wel de meeste) uitgaven van het Rijk tellen mee in deze methodiek. De uitgaven die meetellen zijn vastgelegd en worden de accres relevante uitgaven (ARU) genoemd.</a:t>
            </a:r>
          </a:p>
          <a:p>
            <a:pPr marL="0" indent="0">
              <a:buNone/>
            </a:pPr>
            <a:br>
              <a:rPr lang="nl-NL" i="1" dirty="0"/>
            </a:br>
            <a:r>
              <a:rPr lang="nl-NL" i="1" dirty="0"/>
              <a:t>Voorbeeld</a:t>
            </a:r>
            <a:r>
              <a:rPr lang="nl-NL" b="1" i="1" dirty="0"/>
              <a:t>: </a:t>
            </a:r>
            <a:r>
              <a:rPr lang="nl-NL" i="1" dirty="0"/>
              <a:t>Economische voorspoed in 2016 zorgde er voor dat (accres relevante) Rijksuitgaven stegen met 4,2%. Door de automatische koppeling met de ontwikkeling van Rijksuitgaven stijgt in 2016 ook de totale omvang van de algemene uitkering met 4,2%. Hiermee profiteren dus ook gemeenten van de economische voorspoed.</a:t>
            </a:r>
          </a:p>
        </p:txBody>
      </p:sp>
      <p:sp>
        <p:nvSpPr>
          <p:cNvPr id="34" name="Flowchart: Connector 33">
            <a:extLst>
              <a:ext uri="{FF2B5EF4-FFF2-40B4-BE49-F238E27FC236}">
                <a16:creationId xmlns:a16="http://schemas.microsoft.com/office/drawing/2014/main" id="{ED8806EA-57D4-4FC6-8208-209A3C16AE1B}"/>
              </a:ext>
            </a:extLst>
          </p:cNvPr>
          <p:cNvSpPr/>
          <p:nvPr/>
        </p:nvSpPr>
        <p:spPr>
          <a:xfrm>
            <a:off x="5870555" y="2756020"/>
            <a:ext cx="223988" cy="223988"/>
          </a:xfrm>
          <a:prstGeom prst="flowChartConnector">
            <a:avLst/>
          </a:prstGeom>
          <a:solidFill>
            <a:srgbClr val="FFBD42"/>
          </a:solidFill>
          <a:ln w="19050" cap="flat">
            <a:noFill/>
            <a:prstDash val="solid"/>
            <a:miter/>
          </a:ln>
          <a:extLst>
            <a:ext uri="{91240B29-F687-4F45-9708-019B960494DF}">
              <a14:hiddenLine xmlns:a14="http://schemas.microsoft.com/office/drawing/2010/main" w="19050" cap="flat">
                <a:solidFill>
                  <a:schemeClr val="tx1"/>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1</a:t>
            </a:r>
          </a:p>
        </p:txBody>
      </p:sp>
      <p:sp>
        <p:nvSpPr>
          <p:cNvPr id="26" name="Rectangle: Rounded Corners 25">
            <a:extLst>
              <a:ext uri="{FF2B5EF4-FFF2-40B4-BE49-F238E27FC236}">
                <a16:creationId xmlns:a16="http://schemas.microsoft.com/office/drawing/2014/main" id="{A83D141F-55B6-4DF4-85B7-ED4E5CE7C135}"/>
              </a:ext>
            </a:extLst>
          </p:cNvPr>
          <p:cNvSpPr/>
          <p:nvPr/>
        </p:nvSpPr>
        <p:spPr>
          <a:xfrm>
            <a:off x="2025160" y="2118695"/>
            <a:ext cx="1757332" cy="285860"/>
          </a:xfrm>
          <a:prstGeom prst="roundRect">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1.Omvangsmodel</a:t>
            </a:r>
          </a:p>
        </p:txBody>
      </p:sp>
    </p:spTree>
    <p:extLst>
      <p:ext uri="{BB962C8B-B14F-4D97-AF65-F5344CB8AC3E}">
        <p14:creationId xmlns:p14="http://schemas.microsoft.com/office/powerpoint/2010/main" val="2583740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09D601E8-CEAF-4BF0-89D2-FCCA946FDD47}"/>
              </a:ext>
            </a:extLst>
          </p:cNvPr>
          <p:cNvGraphicFramePr>
            <a:graphicFrameLocks noChangeAspect="1"/>
          </p:cNvGraphicFramePr>
          <p:nvPr>
            <p:custDataLst>
              <p:tags r:id="rId2"/>
            </p:custDataLst>
            <p:extLst>
              <p:ext uri="{D42A27DB-BD31-4B8C-83A1-F6EECF244321}">
                <p14:modId xmlns:p14="http://schemas.microsoft.com/office/powerpoint/2010/main" val="163070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8" name="think-cell Slide" r:id="rId5" imgW="501" imgH="502" progId="TCLayout.ActiveDocument.1">
                  <p:embed/>
                </p:oleObj>
              </mc:Choice>
              <mc:Fallback>
                <p:oleObj name="think-cell Slide" r:id="rId5" imgW="501" imgH="502" progId="TCLayout.ActiveDocument.1">
                  <p:embed/>
                  <p:pic>
                    <p:nvPicPr>
                      <p:cNvPr id="23" name="Object 22" hidden="1">
                        <a:extLst>
                          <a:ext uri="{FF2B5EF4-FFF2-40B4-BE49-F238E27FC236}">
                            <a16:creationId xmlns:a16="http://schemas.microsoft.com/office/drawing/2014/main" id="{09D601E8-CEAF-4BF0-89D2-FCCA946FDD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4B6032BE-6A56-40E6-8C31-A182A21B7D8F}"/>
              </a:ext>
            </a:extLst>
          </p:cNvPr>
          <p:cNvGrpSpPr/>
          <p:nvPr/>
        </p:nvGrpSpPr>
        <p:grpSpPr>
          <a:xfrm>
            <a:off x="1052890" y="2277608"/>
            <a:ext cx="3760418" cy="3760418"/>
            <a:chOff x="1097280" y="2277608"/>
            <a:chExt cx="3760418" cy="3760418"/>
          </a:xfrm>
        </p:grpSpPr>
        <p:grpSp>
          <p:nvGrpSpPr>
            <p:cNvPr id="22" name="Group 21">
              <a:extLst>
                <a:ext uri="{FF2B5EF4-FFF2-40B4-BE49-F238E27FC236}">
                  <a16:creationId xmlns:a16="http://schemas.microsoft.com/office/drawing/2014/main" id="{9A9014E0-3BF5-4A88-8706-FF53A9522869}"/>
                </a:ext>
              </a:extLst>
            </p:cNvPr>
            <p:cNvGrpSpPr/>
            <p:nvPr/>
          </p:nvGrpSpPr>
          <p:grpSpPr>
            <a:xfrm>
              <a:off x="1097280" y="2277608"/>
              <a:ext cx="3760418" cy="3760418"/>
              <a:chOff x="3128238" y="2695200"/>
              <a:chExt cx="3507681" cy="3507681"/>
            </a:xfrm>
          </p:grpSpPr>
          <p:sp>
            <p:nvSpPr>
              <p:cNvPr id="11" name="Flowchart: Connector 10">
                <a:extLst>
                  <a:ext uri="{FF2B5EF4-FFF2-40B4-BE49-F238E27FC236}">
                    <a16:creationId xmlns:a16="http://schemas.microsoft.com/office/drawing/2014/main" id="{9245C5EE-83ED-426D-8579-2E9696B73074}"/>
                  </a:ext>
                </a:extLst>
              </p:cNvPr>
              <p:cNvSpPr/>
              <p:nvPr/>
            </p:nvSpPr>
            <p:spPr>
              <a:xfrm>
                <a:off x="3128238" y="2695200"/>
                <a:ext cx="3507681" cy="3507681"/>
              </a:xfrm>
              <a:prstGeom prst="flowChartConnector">
                <a:avLst/>
              </a:prstGeom>
              <a:noFill/>
              <a:ln w="28575" cap="flat">
                <a:solidFill>
                  <a:srgbClr val="22777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solidFill>
                    <a:schemeClr val="tx1"/>
                  </a:solidFill>
                </a:endParaRPr>
              </a:p>
            </p:txBody>
          </p:sp>
          <p:sp>
            <p:nvSpPr>
              <p:cNvPr id="21" name="TextBox 20">
                <a:extLst>
                  <a:ext uri="{FF2B5EF4-FFF2-40B4-BE49-F238E27FC236}">
                    <a16:creationId xmlns:a16="http://schemas.microsoft.com/office/drawing/2014/main" id="{F4D4744E-A412-4DD2-B5CF-C3C11CDE2327}"/>
                  </a:ext>
                </a:extLst>
              </p:cNvPr>
              <p:cNvSpPr txBox="1"/>
              <p:nvPr/>
            </p:nvSpPr>
            <p:spPr>
              <a:xfrm>
                <a:off x="4052577" y="4240912"/>
                <a:ext cx="1746365" cy="569707"/>
              </a:xfrm>
              <a:prstGeom prst="rect">
                <a:avLst/>
              </a:prstGeom>
            </p:spPr>
            <p:txBody>
              <a:bodyPr vert="horz" wrap="square" lIns="91440" tIns="45720" rIns="91440" bIns="45720" rtlCol="0">
                <a:noAutofit/>
              </a:bodyPr>
              <a:lstStyle/>
              <a:p>
                <a:pPr algn="l"/>
                <a:endParaRPr lang="nl-NL" sz="1200" noProof="0" dirty="0"/>
              </a:p>
            </p:txBody>
          </p:sp>
        </p:grpSp>
        <p:sp>
          <p:nvSpPr>
            <p:cNvPr id="26" name="TextBox 25">
              <a:extLst>
                <a:ext uri="{FF2B5EF4-FFF2-40B4-BE49-F238E27FC236}">
                  <a16:creationId xmlns:a16="http://schemas.microsoft.com/office/drawing/2014/main" id="{3BAE0DB4-DC21-4565-8389-FC115F403BCB}"/>
                </a:ext>
              </a:extLst>
            </p:cNvPr>
            <p:cNvSpPr txBox="1"/>
            <p:nvPr/>
          </p:nvSpPr>
          <p:spPr>
            <a:xfrm>
              <a:off x="1849102" y="2404555"/>
              <a:ext cx="2256774" cy="480131"/>
            </a:xfrm>
            <a:prstGeom prst="rect">
              <a:avLst/>
            </a:prstGeom>
            <a:noFill/>
          </p:spPr>
          <p:txBody>
            <a:bodyPr wrap="square">
              <a:spAutoFit/>
            </a:bodyPr>
            <a:lstStyle/>
            <a:p>
              <a:pPr marL="0" indent="0" algn="ctr">
                <a:buNone/>
              </a:pPr>
              <a:r>
                <a:rPr lang="nl-NL" b="1" dirty="0">
                  <a:solidFill>
                    <a:schemeClr val="tx1"/>
                  </a:solidFill>
                </a:rPr>
                <a:t>Algemene </a:t>
              </a:r>
              <a:br>
                <a:rPr lang="nl-NL" b="1" dirty="0">
                  <a:solidFill>
                    <a:schemeClr val="tx1"/>
                  </a:solidFill>
                </a:rPr>
              </a:br>
              <a:r>
                <a:rPr lang="nl-NL" b="1" dirty="0">
                  <a:solidFill>
                    <a:schemeClr val="tx1"/>
                  </a:solidFill>
                </a:rPr>
                <a:t>uitkering</a:t>
              </a:r>
            </a:p>
          </p:txBody>
        </p:sp>
      </p:grpSp>
      <p:sp>
        <p:nvSpPr>
          <p:cNvPr id="48" name="Arc 47">
            <a:extLst>
              <a:ext uri="{FF2B5EF4-FFF2-40B4-BE49-F238E27FC236}">
                <a16:creationId xmlns:a16="http://schemas.microsoft.com/office/drawing/2014/main" id="{E3567492-2DF1-4A6E-94AB-AEF3BFC65A98}"/>
              </a:ext>
            </a:extLst>
          </p:cNvPr>
          <p:cNvSpPr/>
          <p:nvPr/>
        </p:nvSpPr>
        <p:spPr>
          <a:xfrm rot="8212054">
            <a:off x="4039333" y="3476740"/>
            <a:ext cx="801512" cy="816750"/>
          </a:xfrm>
          <a:prstGeom prst="arc">
            <a:avLst>
              <a:gd name="adj1" fmla="val 15929752"/>
              <a:gd name="adj2" fmla="val 0"/>
            </a:avLst>
          </a:prstGeom>
          <a:ln w="28575">
            <a:solidFill>
              <a:srgbClr val="22777B"/>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49" name="TextBox 48">
            <a:extLst>
              <a:ext uri="{FF2B5EF4-FFF2-40B4-BE49-F238E27FC236}">
                <a16:creationId xmlns:a16="http://schemas.microsoft.com/office/drawing/2014/main" id="{6EDC2B4A-F361-48FB-9C50-07A6BAE17714}"/>
              </a:ext>
            </a:extLst>
          </p:cNvPr>
          <p:cNvSpPr txBox="1"/>
          <p:nvPr/>
        </p:nvSpPr>
        <p:spPr>
          <a:xfrm>
            <a:off x="3860245" y="4314979"/>
            <a:ext cx="1160622" cy="424732"/>
          </a:xfrm>
          <a:prstGeom prst="rect">
            <a:avLst/>
          </a:prstGeom>
          <a:noFill/>
        </p:spPr>
        <p:txBody>
          <a:bodyPr wrap="square">
            <a:spAutoFit/>
          </a:bodyPr>
          <a:lstStyle/>
          <a:p>
            <a:pPr marL="0" indent="0" algn="ctr">
              <a:buNone/>
            </a:pPr>
            <a:r>
              <a:rPr lang="nl-NL" sz="1200" b="1" dirty="0"/>
              <a:t>Uitkerings-</a:t>
            </a:r>
            <a:br>
              <a:rPr lang="nl-NL" sz="1200" b="1" dirty="0"/>
            </a:br>
            <a:r>
              <a:rPr lang="nl-NL" sz="1200" b="1" dirty="0"/>
              <a:t>factor</a:t>
            </a:r>
          </a:p>
        </p:txBody>
      </p:sp>
      <p:sp>
        <p:nvSpPr>
          <p:cNvPr id="6" name="Text Placeholder 5">
            <a:extLst>
              <a:ext uri="{FF2B5EF4-FFF2-40B4-BE49-F238E27FC236}">
                <a16:creationId xmlns:a16="http://schemas.microsoft.com/office/drawing/2014/main" id="{DDF5FCA7-F66C-493B-986C-A78771903C56}"/>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4FEFA37D-DB95-4B20-95E0-D0DFC1E1B0FB}"/>
              </a:ext>
            </a:extLst>
          </p:cNvPr>
          <p:cNvSpPr>
            <a:spLocks noGrp="1"/>
          </p:cNvSpPr>
          <p:nvPr>
            <p:ph type="title"/>
          </p:nvPr>
        </p:nvSpPr>
        <p:spPr/>
        <p:txBody>
          <a:bodyPr vert="horz"/>
          <a:lstStyle/>
          <a:p>
            <a:r>
              <a:rPr lang="nl-NL" dirty="0"/>
              <a:t>Werking van het verdeel- en werklastmodel</a:t>
            </a:r>
          </a:p>
        </p:txBody>
      </p:sp>
      <p:sp>
        <p:nvSpPr>
          <p:cNvPr id="10" name="Slide Number Placeholder 9">
            <a:extLst>
              <a:ext uri="{FF2B5EF4-FFF2-40B4-BE49-F238E27FC236}">
                <a16:creationId xmlns:a16="http://schemas.microsoft.com/office/drawing/2014/main" id="{A033506C-C991-4121-8F86-A78125FA0FE5}"/>
              </a:ext>
            </a:extLst>
          </p:cNvPr>
          <p:cNvSpPr>
            <a:spLocks noGrp="1"/>
          </p:cNvSpPr>
          <p:nvPr>
            <p:ph type="sldNum" sz="quarter" idx="12"/>
          </p:nvPr>
        </p:nvSpPr>
        <p:spPr/>
        <p:txBody>
          <a:bodyPr/>
          <a:lstStyle/>
          <a:p>
            <a:fld id="{992CD0B2-8AB2-4C6C-8876-E15753662C9B}" type="slidenum">
              <a:rPr lang="nl-NL" noProof="0" smtClean="0"/>
              <a:pPr/>
              <a:t>8</a:t>
            </a:fld>
            <a:endParaRPr lang="nl-NL" noProof="0" dirty="0"/>
          </a:p>
        </p:txBody>
      </p:sp>
      <p:sp>
        <p:nvSpPr>
          <p:cNvPr id="18" name="Rectangle 17">
            <a:extLst>
              <a:ext uri="{FF2B5EF4-FFF2-40B4-BE49-F238E27FC236}">
                <a16:creationId xmlns:a16="http://schemas.microsoft.com/office/drawing/2014/main" id="{5684D575-A6E2-4F7A-AC84-1994F9B34A0C}"/>
              </a:ext>
            </a:extLst>
          </p:cNvPr>
          <p:cNvSpPr/>
          <p:nvPr/>
        </p:nvSpPr>
        <p:spPr>
          <a:xfrm>
            <a:off x="755453" y="2156399"/>
            <a:ext cx="4183570" cy="4002833"/>
          </a:xfrm>
          <a:prstGeom prst="rect">
            <a:avLst/>
          </a:prstGeom>
          <a:solidFill>
            <a:srgbClr val="FFFFFF">
              <a:alpha val="69804"/>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4" name="Flowchart: Connector 23">
            <a:extLst>
              <a:ext uri="{FF2B5EF4-FFF2-40B4-BE49-F238E27FC236}">
                <a16:creationId xmlns:a16="http://schemas.microsoft.com/office/drawing/2014/main" id="{623CA7D4-F630-40C4-A930-E82CAACBC719}"/>
              </a:ext>
            </a:extLst>
          </p:cNvPr>
          <p:cNvSpPr/>
          <p:nvPr/>
        </p:nvSpPr>
        <p:spPr>
          <a:xfrm>
            <a:off x="1792909" y="3021771"/>
            <a:ext cx="2280379" cy="2280379"/>
          </a:xfrm>
          <a:prstGeom prst="flowChartConnector">
            <a:avLst/>
          </a:prstGeom>
          <a:solidFill>
            <a:srgbClr val="FFE8BA">
              <a:alpha val="50000"/>
            </a:srgbClr>
          </a:solidFill>
          <a:ln w="28575"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p>
        </p:txBody>
      </p:sp>
      <p:sp>
        <p:nvSpPr>
          <p:cNvPr id="25" name="TextBox 24">
            <a:extLst>
              <a:ext uri="{FF2B5EF4-FFF2-40B4-BE49-F238E27FC236}">
                <a16:creationId xmlns:a16="http://schemas.microsoft.com/office/drawing/2014/main" id="{B825B093-48AD-4EBB-9FCA-50F1E70E265F}"/>
              </a:ext>
            </a:extLst>
          </p:cNvPr>
          <p:cNvSpPr txBox="1"/>
          <p:nvPr/>
        </p:nvSpPr>
        <p:spPr>
          <a:xfrm>
            <a:off x="1947406" y="4161960"/>
            <a:ext cx="2045936" cy="480130"/>
          </a:xfrm>
          <a:prstGeom prst="rect">
            <a:avLst/>
          </a:prstGeom>
          <a:noFill/>
        </p:spPr>
        <p:txBody>
          <a:bodyPr wrap="square">
            <a:spAutoFit/>
          </a:bodyPr>
          <a:lstStyle/>
          <a:p>
            <a:pPr marL="0" indent="0" algn="ctr">
              <a:buNone/>
            </a:pPr>
            <a:r>
              <a:rPr lang="nl-NL" b="1" dirty="0"/>
              <a:t>Verdeelmodel </a:t>
            </a:r>
            <a:br>
              <a:rPr lang="nl-NL" b="1" dirty="0"/>
            </a:br>
            <a:r>
              <a:rPr lang="nl-NL" b="1" dirty="0"/>
              <a:t>(werklast)</a:t>
            </a:r>
          </a:p>
        </p:txBody>
      </p:sp>
      <p:cxnSp>
        <p:nvCxnSpPr>
          <p:cNvPr id="27" name="Straight Connector 26">
            <a:extLst>
              <a:ext uri="{FF2B5EF4-FFF2-40B4-BE49-F238E27FC236}">
                <a16:creationId xmlns:a16="http://schemas.microsoft.com/office/drawing/2014/main" id="{F4E70A7E-F5F3-4787-B94D-B32E962AFA90}"/>
              </a:ext>
            </a:extLst>
          </p:cNvPr>
          <p:cNvCxnSpPr>
            <a:cxnSpLocks/>
          </p:cNvCxnSpPr>
          <p:nvPr/>
        </p:nvCxnSpPr>
        <p:spPr>
          <a:xfrm flipV="1">
            <a:off x="3613353" y="3236678"/>
            <a:ext cx="432000" cy="432000"/>
          </a:xfrm>
          <a:prstGeom prst="line">
            <a:avLst/>
          </a:prstGeom>
          <a:ln w="66675">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236AEC11-7DD4-45E8-A48A-D927A0A9E71A}"/>
              </a:ext>
            </a:extLst>
          </p:cNvPr>
          <p:cNvSpPr txBox="1"/>
          <p:nvPr/>
        </p:nvSpPr>
        <p:spPr>
          <a:xfrm>
            <a:off x="4317791" y="2729347"/>
            <a:ext cx="1304956" cy="345098"/>
          </a:xfrm>
          <a:prstGeom prst="rect">
            <a:avLst/>
          </a:prstGeom>
        </p:spPr>
        <p:txBody>
          <a:bodyPr vert="horz" wrap="square" lIns="91440" tIns="45720" rIns="91440" bIns="45720" rtlCol="0">
            <a:noAutofit/>
          </a:bodyPr>
          <a:lstStyle/>
          <a:p>
            <a:pPr marL="0" indent="0" algn="ctr">
              <a:buNone/>
            </a:pPr>
            <a:r>
              <a:rPr lang="nl-NL" sz="1200" b="1" dirty="0"/>
              <a:t>Werklast-ontwikkeling</a:t>
            </a:r>
          </a:p>
          <a:p>
            <a:pPr marL="0" indent="0" algn="ctr">
              <a:buNone/>
            </a:pPr>
            <a:r>
              <a:rPr lang="nl-NL" sz="1200" b="1" dirty="0"/>
              <a:t>     </a:t>
            </a:r>
          </a:p>
        </p:txBody>
      </p:sp>
      <p:sp>
        <p:nvSpPr>
          <p:cNvPr id="29" name="Freeform: Shape 28">
            <a:extLst>
              <a:ext uri="{FF2B5EF4-FFF2-40B4-BE49-F238E27FC236}">
                <a16:creationId xmlns:a16="http://schemas.microsoft.com/office/drawing/2014/main" id="{0553D84C-1990-45CE-85D9-0D0158BA4887}"/>
              </a:ext>
            </a:extLst>
          </p:cNvPr>
          <p:cNvSpPr/>
          <p:nvPr/>
        </p:nvSpPr>
        <p:spPr>
          <a:xfrm rot="5400000">
            <a:off x="4257148" y="2957531"/>
            <a:ext cx="378245" cy="848616"/>
          </a:xfrm>
          <a:custGeom>
            <a:avLst/>
            <a:gdLst>
              <a:gd name="connsiteX0" fmla="*/ 0 w 300133"/>
              <a:gd name="connsiteY0" fmla="*/ 0 h 488272"/>
              <a:gd name="connsiteX1" fmla="*/ 284085 w 300133"/>
              <a:gd name="connsiteY1" fmla="*/ 195308 h 488272"/>
              <a:gd name="connsiteX2" fmla="*/ 239697 w 300133"/>
              <a:gd name="connsiteY2" fmla="*/ 488272 h 488272"/>
              <a:gd name="connsiteX0" fmla="*/ 0 w 285037"/>
              <a:gd name="connsiteY0" fmla="*/ 0 h 494943"/>
              <a:gd name="connsiteX1" fmla="*/ 268989 w 285037"/>
              <a:gd name="connsiteY1" fmla="*/ 201979 h 494943"/>
              <a:gd name="connsiteX2" fmla="*/ 224601 w 285037"/>
              <a:gd name="connsiteY2" fmla="*/ 494943 h 494943"/>
              <a:gd name="connsiteX0" fmla="*/ 0 w 285037"/>
              <a:gd name="connsiteY0" fmla="*/ 0 h 494943"/>
              <a:gd name="connsiteX1" fmla="*/ 268989 w 285037"/>
              <a:gd name="connsiteY1" fmla="*/ 208652 h 494943"/>
              <a:gd name="connsiteX2" fmla="*/ 224601 w 285037"/>
              <a:gd name="connsiteY2" fmla="*/ 494943 h 494943"/>
              <a:gd name="connsiteX0" fmla="*/ 0 w 288537"/>
              <a:gd name="connsiteY0" fmla="*/ 0 h 501616"/>
              <a:gd name="connsiteX1" fmla="*/ 268989 w 288537"/>
              <a:gd name="connsiteY1" fmla="*/ 208652 h 501616"/>
              <a:gd name="connsiteX2" fmla="*/ 239697 w 288537"/>
              <a:gd name="connsiteY2" fmla="*/ 501616 h 501616"/>
            </a:gdLst>
            <a:ahLst/>
            <a:cxnLst>
              <a:cxn ang="0">
                <a:pos x="connsiteX0" y="connsiteY0"/>
              </a:cxn>
              <a:cxn ang="0">
                <a:pos x="connsiteX1" y="connsiteY1"/>
              </a:cxn>
              <a:cxn ang="0">
                <a:pos x="connsiteX2" y="connsiteY2"/>
              </a:cxn>
            </a:cxnLst>
            <a:rect l="l" t="t" r="r" b="b"/>
            <a:pathLst>
              <a:path w="288537" h="501616">
                <a:moveTo>
                  <a:pt x="0" y="0"/>
                </a:moveTo>
                <a:cubicBezTo>
                  <a:pt x="122067" y="56964"/>
                  <a:pt x="229039" y="127273"/>
                  <a:pt x="268989" y="208652"/>
                </a:cubicBezTo>
                <a:cubicBezTo>
                  <a:pt x="308939" y="290031"/>
                  <a:pt x="281866" y="395823"/>
                  <a:pt x="239697" y="501616"/>
                </a:cubicBezTo>
              </a:path>
            </a:pathLst>
          </a:custGeom>
          <a:noFill/>
          <a:ln w="19050" cap="flat">
            <a:solidFill>
              <a:srgbClr val="FFC000"/>
            </a:solidFill>
            <a:prstDash val="solid"/>
            <a:miter/>
            <a:headEnd type="none" w="med" len="med"/>
            <a:tailEnd type="triangle" w="med" len="med"/>
          </a:ln>
        </p:spPr>
        <p:txBody>
          <a:bodyPr rtlCol="0" anchor="ctr"/>
          <a:lstStyle/>
          <a:p>
            <a:pPr algn="ctr"/>
            <a:endParaRPr lang="nl-NL" dirty="0"/>
          </a:p>
        </p:txBody>
      </p:sp>
      <p:sp>
        <p:nvSpPr>
          <p:cNvPr id="30" name="Flowchart: Connector 29">
            <a:extLst>
              <a:ext uri="{FF2B5EF4-FFF2-40B4-BE49-F238E27FC236}">
                <a16:creationId xmlns:a16="http://schemas.microsoft.com/office/drawing/2014/main" id="{831F4939-B14F-4C99-ADBE-AE5A0A59C0C8}"/>
              </a:ext>
            </a:extLst>
          </p:cNvPr>
          <p:cNvSpPr/>
          <p:nvPr/>
        </p:nvSpPr>
        <p:spPr>
          <a:xfrm>
            <a:off x="4858275" y="2460455"/>
            <a:ext cx="223988" cy="223988"/>
          </a:xfrm>
          <a:prstGeom prst="flowChartConnector">
            <a:avLst/>
          </a:prstGeom>
          <a:solidFill>
            <a:srgbClr val="FFBD42"/>
          </a:solidFill>
          <a:ln w="19050" cap="flat">
            <a:noFill/>
            <a:prstDash val="solid"/>
            <a:miter/>
          </a:ln>
          <a:extLst>
            <a:ext uri="{91240B29-F687-4F45-9708-019B960494DF}">
              <a14:hiddenLine xmlns:a14="http://schemas.microsoft.com/office/drawing/2010/main" w="19050" cap="flat">
                <a:solidFill>
                  <a:schemeClr val="tx1"/>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2</a:t>
            </a:r>
          </a:p>
        </p:txBody>
      </p:sp>
      <p:sp>
        <p:nvSpPr>
          <p:cNvPr id="33" name="Content Placeholder 29">
            <a:extLst>
              <a:ext uri="{FF2B5EF4-FFF2-40B4-BE49-F238E27FC236}">
                <a16:creationId xmlns:a16="http://schemas.microsoft.com/office/drawing/2014/main" id="{722EDA6D-A75C-4889-9C4E-030D277D01D8}"/>
              </a:ext>
            </a:extLst>
          </p:cNvPr>
          <p:cNvSpPr txBox="1">
            <a:spLocks/>
          </p:cNvSpPr>
          <p:nvPr/>
        </p:nvSpPr>
        <p:spPr>
          <a:xfrm>
            <a:off x="6096000" y="2696850"/>
            <a:ext cx="5420780" cy="3040470"/>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1200"/>
              </a:spcBef>
              <a:buNone/>
            </a:pPr>
            <a:r>
              <a:rPr lang="nl-NL" b="1" dirty="0"/>
              <a:t>Verdeelmodel - werklastontwikkeling: </a:t>
            </a:r>
            <a:r>
              <a:rPr lang="nl-NL" dirty="0"/>
              <a:t>De totale algemene uitkering wordt verdeeld op basis van een set van verdeelmaatstaven. De verschillende verdeelmaatstaven relateren aan de verschillende (wettelijke) taken die gemeenten dienen uit te voeren. Omdat taken verschillen in de kosten die ze met zich meebrengen, heeft elke verdeelmaatstaf een eigen gewicht (prijs per eenheid). Het totaalbedrag (eenheden x gewicht) van alle maatstaven opgeteld vormt dus een maat voor de totale gemeentelijke werklast.</a:t>
            </a:r>
            <a:r>
              <a:rPr lang="nl-NL" baseline="30000" dirty="0"/>
              <a:t>1</a:t>
            </a:r>
            <a:endParaRPr lang="nl-NL" dirty="0"/>
          </a:p>
          <a:p>
            <a:pPr marL="0" indent="0">
              <a:spcBef>
                <a:spcPts val="1200"/>
              </a:spcBef>
              <a:buNone/>
            </a:pPr>
            <a:r>
              <a:rPr lang="nl-NL" dirty="0"/>
              <a:t>De omvang de totale werklast ontwikkelt zich door verandering in het aantal eenheden aan werk (e.g. door bevolkingsgroei). </a:t>
            </a:r>
            <a:br>
              <a:rPr lang="nl-NL" dirty="0"/>
            </a:br>
            <a:br>
              <a:rPr lang="nl-NL" dirty="0"/>
            </a:br>
            <a:r>
              <a:rPr lang="nl-NL" i="1" dirty="0"/>
              <a:t>Voorbeeld:</a:t>
            </a:r>
            <a:r>
              <a:rPr lang="nl-NL" b="1" i="1" dirty="0"/>
              <a:t> </a:t>
            </a:r>
            <a:r>
              <a:rPr lang="nl-NL" i="1" dirty="0"/>
              <a:t>Landelijk nam het aantal mensen in de bijstand in 2020 toe met ca. 24k. Het aantal eenheden van de maatstaf ‘bijstandsontvangers’ nam toe met 6,0% en zorgt voor een totale toename van 0,3% in gemeentelijke werklast.</a:t>
            </a:r>
            <a:br>
              <a:rPr lang="nl-NL" dirty="0"/>
            </a:br>
            <a:endParaRPr lang="nl-NL" b="1" dirty="0"/>
          </a:p>
        </p:txBody>
      </p:sp>
      <p:sp>
        <p:nvSpPr>
          <p:cNvPr id="34" name="Flowchart: Connector 33">
            <a:extLst>
              <a:ext uri="{FF2B5EF4-FFF2-40B4-BE49-F238E27FC236}">
                <a16:creationId xmlns:a16="http://schemas.microsoft.com/office/drawing/2014/main" id="{DCC16A81-FA2C-447D-9E46-282C74491471}"/>
              </a:ext>
            </a:extLst>
          </p:cNvPr>
          <p:cNvSpPr/>
          <p:nvPr/>
        </p:nvSpPr>
        <p:spPr>
          <a:xfrm>
            <a:off x="5870555" y="2756020"/>
            <a:ext cx="223988" cy="223988"/>
          </a:xfrm>
          <a:prstGeom prst="flowChartConnector">
            <a:avLst/>
          </a:prstGeom>
          <a:solidFill>
            <a:srgbClr val="FFBD42"/>
          </a:solidFill>
          <a:ln w="19050" cap="flat">
            <a:noFill/>
            <a:prstDash val="solid"/>
            <a:miter/>
          </a:ln>
          <a:extLst>
            <a:ext uri="{91240B29-F687-4F45-9708-019B960494DF}">
              <a14:hiddenLine xmlns:a14="http://schemas.microsoft.com/office/drawing/2010/main" w="19050" cap="flat">
                <a:solidFill>
                  <a:schemeClr val="tx1"/>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2</a:t>
            </a:r>
          </a:p>
        </p:txBody>
      </p:sp>
      <p:sp>
        <p:nvSpPr>
          <p:cNvPr id="35" name="Text Placeholder 7">
            <a:extLst>
              <a:ext uri="{FF2B5EF4-FFF2-40B4-BE49-F238E27FC236}">
                <a16:creationId xmlns:a16="http://schemas.microsoft.com/office/drawing/2014/main" id="{DDEE40D7-0387-4218-9A69-AAFAC2445392}"/>
              </a:ext>
            </a:extLst>
          </p:cNvPr>
          <p:cNvSpPr txBox="1">
            <a:spLocks/>
          </p:cNvSpPr>
          <p:nvPr/>
        </p:nvSpPr>
        <p:spPr>
          <a:xfrm>
            <a:off x="664788" y="6565687"/>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De gewichten van verdeelmaatstaven bewegen niet mee met inflatie, waardoor de berekende gemeentelijke werklast (i.e. totaal aantal eenheden x bijbehorende gewichten; ofwel: ‘de uitkeringsbasis’) geen actuele raming vormt voor de uitvoerkosten.</a:t>
            </a:r>
          </a:p>
        </p:txBody>
      </p:sp>
      <p:sp>
        <p:nvSpPr>
          <p:cNvPr id="31" name="Rectangle: Rounded Corners 30">
            <a:extLst>
              <a:ext uri="{FF2B5EF4-FFF2-40B4-BE49-F238E27FC236}">
                <a16:creationId xmlns:a16="http://schemas.microsoft.com/office/drawing/2014/main" id="{1FE3B1BD-3B46-4D5C-9EA2-C5E8F527B604}"/>
              </a:ext>
            </a:extLst>
          </p:cNvPr>
          <p:cNvSpPr/>
          <p:nvPr/>
        </p:nvSpPr>
        <p:spPr>
          <a:xfrm>
            <a:off x="2043830" y="3778959"/>
            <a:ext cx="1757332" cy="285860"/>
          </a:xfrm>
          <a:prstGeom prst="roundRect">
            <a:avLst/>
          </a:prstGeom>
          <a:solidFill>
            <a:srgbClr val="FFC000"/>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2. Verdeelmodel</a:t>
            </a:r>
          </a:p>
        </p:txBody>
      </p:sp>
    </p:spTree>
    <p:extLst>
      <p:ext uri="{BB962C8B-B14F-4D97-AF65-F5344CB8AC3E}">
        <p14:creationId xmlns:p14="http://schemas.microsoft.com/office/powerpoint/2010/main" val="19849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09D601E8-CEAF-4BF0-89D2-FCCA946FDD47}"/>
              </a:ext>
            </a:extLst>
          </p:cNvPr>
          <p:cNvGraphicFramePr>
            <a:graphicFrameLocks noChangeAspect="1"/>
          </p:cNvGraphicFramePr>
          <p:nvPr>
            <p:custDataLst>
              <p:tags r:id="rId2"/>
            </p:custDataLst>
            <p:extLst>
              <p:ext uri="{D42A27DB-BD31-4B8C-83A1-F6EECF244321}">
                <p14:modId xmlns:p14="http://schemas.microsoft.com/office/powerpoint/2010/main" val="3985817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02" name="think-cell Slide" r:id="rId5" imgW="501" imgH="502" progId="TCLayout.ActiveDocument.1">
                  <p:embed/>
                </p:oleObj>
              </mc:Choice>
              <mc:Fallback>
                <p:oleObj name="think-cell Slide" r:id="rId5" imgW="501" imgH="502" progId="TCLayout.ActiveDocument.1">
                  <p:embed/>
                  <p:pic>
                    <p:nvPicPr>
                      <p:cNvPr id="23" name="Object 22" hidden="1">
                        <a:extLst>
                          <a:ext uri="{FF2B5EF4-FFF2-40B4-BE49-F238E27FC236}">
                            <a16:creationId xmlns:a16="http://schemas.microsoft.com/office/drawing/2014/main" id="{09D601E8-CEAF-4BF0-89D2-FCCA946FDD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Flowchart: Connector 32">
            <a:extLst>
              <a:ext uri="{FF2B5EF4-FFF2-40B4-BE49-F238E27FC236}">
                <a16:creationId xmlns:a16="http://schemas.microsoft.com/office/drawing/2014/main" id="{38D79361-3B9D-4024-81A3-6A4F5127929C}"/>
              </a:ext>
            </a:extLst>
          </p:cNvPr>
          <p:cNvSpPr/>
          <p:nvPr/>
        </p:nvSpPr>
        <p:spPr>
          <a:xfrm>
            <a:off x="1792681" y="3033346"/>
            <a:ext cx="2280379" cy="2280379"/>
          </a:xfrm>
          <a:prstGeom prst="flowChartConnector">
            <a:avLst/>
          </a:prstGeom>
          <a:solidFill>
            <a:srgbClr val="FFE8BA">
              <a:alpha val="50000"/>
            </a:srgbClr>
          </a:solidFill>
          <a:ln w="28575"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p>
        </p:txBody>
      </p:sp>
      <p:grpSp>
        <p:nvGrpSpPr>
          <p:cNvPr id="13" name="Group 12">
            <a:extLst>
              <a:ext uri="{FF2B5EF4-FFF2-40B4-BE49-F238E27FC236}">
                <a16:creationId xmlns:a16="http://schemas.microsoft.com/office/drawing/2014/main" id="{4B6032BE-6A56-40E6-8C31-A182A21B7D8F}"/>
              </a:ext>
            </a:extLst>
          </p:cNvPr>
          <p:cNvGrpSpPr/>
          <p:nvPr/>
        </p:nvGrpSpPr>
        <p:grpSpPr>
          <a:xfrm>
            <a:off x="1804711" y="2409624"/>
            <a:ext cx="2256774" cy="2232465"/>
            <a:chOff x="1849101" y="2409624"/>
            <a:chExt cx="2256774" cy="2232465"/>
          </a:xfrm>
        </p:grpSpPr>
        <p:grpSp>
          <p:nvGrpSpPr>
            <p:cNvPr id="5" name="Group 4">
              <a:extLst>
                <a:ext uri="{FF2B5EF4-FFF2-40B4-BE49-F238E27FC236}">
                  <a16:creationId xmlns:a16="http://schemas.microsoft.com/office/drawing/2014/main" id="{AB347951-8EA8-4FE3-8C94-A561FB835C78}"/>
                </a:ext>
              </a:extLst>
            </p:cNvPr>
            <p:cNvGrpSpPr/>
            <p:nvPr/>
          </p:nvGrpSpPr>
          <p:grpSpPr>
            <a:xfrm>
              <a:off x="1991797" y="3934691"/>
              <a:ext cx="2045936" cy="707398"/>
              <a:chOff x="2184634" y="3953656"/>
              <a:chExt cx="1908429" cy="659854"/>
            </a:xfrm>
          </p:grpSpPr>
          <p:sp>
            <p:nvSpPr>
              <p:cNvPr id="21" name="TextBox 20">
                <a:extLst>
                  <a:ext uri="{FF2B5EF4-FFF2-40B4-BE49-F238E27FC236}">
                    <a16:creationId xmlns:a16="http://schemas.microsoft.com/office/drawing/2014/main" id="{F4D4744E-A412-4DD2-B5CF-C3C11CDE2327}"/>
                  </a:ext>
                </a:extLst>
              </p:cNvPr>
              <p:cNvSpPr txBox="1"/>
              <p:nvPr/>
            </p:nvSpPr>
            <p:spPr>
              <a:xfrm>
                <a:off x="2274577" y="3953656"/>
                <a:ext cx="1746365" cy="569707"/>
              </a:xfrm>
              <a:prstGeom prst="rect">
                <a:avLst/>
              </a:prstGeom>
            </p:spPr>
            <p:txBody>
              <a:bodyPr vert="horz" wrap="square" lIns="91440" tIns="45720" rIns="91440" bIns="45720" rtlCol="0">
                <a:noAutofit/>
              </a:bodyPr>
              <a:lstStyle/>
              <a:p>
                <a:pPr algn="l"/>
                <a:endParaRPr lang="nl-NL" sz="1200" noProof="0" dirty="0"/>
              </a:p>
            </p:txBody>
          </p:sp>
          <p:sp>
            <p:nvSpPr>
              <p:cNvPr id="39" name="TextBox 38">
                <a:extLst>
                  <a:ext uri="{FF2B5EF4-FFF2-40B4-BE49-F238E27FC236}">
                    <a16:creationId xmlns:a16="http://schemas.microsoft.com/office/drawing/2014/main" id="{25ECCC44-05E4-416A-88FD-4CA091385C32}"/>
                  </a:ext>
                </a:extLst>
              </p:cNvPr>
              <p:cNvSpPr txBox="1"/>
              <p:nvPr/>
            </p:nvSpPr>
            <p:spPr>
              <a:xfrm>
                <a:off x="2184634" y="4165649"/>
                <a:ext cx="1908429" cy="447861"/>
              </a:xfrm>
              <a:prstGeom prst="rect">
                <a:avLst/>
              </a:prstGeom>
              <a:noFill/>
            </p:spPr>
            <p:txBody>
              <a:bodyPr wrap="square">
                <a:spAutoFit/>
              </a:bodyPr>
              <a:lstStyle/>
              <a:p>
                <a:pPr marL="0" indent="0" algn="ctr">
                  <a:buNone/>
                </a:pPr>
                <a:r>
                  <a:rPr lang="nl-NL" b="1" dirty="0"/>
                  <a:t>Verdeelmodel </a:t>
                </a:r>
                <a:br>
                  <a:rPr lang="nl-NL" b="1" dirty="0"/>
                </a:br>
                <a:r>
                  <a:rPr lang="nl-NL" b="1" dirty="0"/>
                  <a:t>(werklast)</a:t>
                </a:r>
              </a:p>
            </p:txBody>
          </p:sp>
        </p:grpSp>
        <p:sp>
          <p:nvSpPr>
            <p:cNvPr id="26" name="TextBox 25">
              <a:extLst>
                <a:ext uri="{FF2B5EF4-FFF2-40B4-BE49-F238E27FC236}">
                  <a16:creationId xmlns:a16="http://schemas.microsoft.com/office/drawing/2014/main" id="{3BAE0DB4-DC21-4565-8389-FC115F403BCB}"/>
                </a:ext>
              </a:extLst>
            </p:cNvPr>
            <p:cNvSpPr txBox="1"/>
            <p:nvPr/>
          </p:nvSpPr>
          <p:spPr>
            <a:xfrm>
              <a:off x="1849101" y="2409624"/>
              <a:ext cx="2256774" cy="480131"/>
            </a:xfrm>
            <a:prstGeom prst="rect">
              <a:avLst/>
            </a:prstGeom>
            <a:noFill/>
          </p:spPr>
          <p:txBody>
            <a:bodyPr wrap="square">
              <a:spAutoFit/>
            </a:bodyPr>
            <a:lstStyle/>
            <a:p>
              <a:pPr marL="0" indent="0" algn="ctr">
                <a:buNone/>
              </a:pPr>
              <a:r>
                <a:rPr lang="nl-NL" b="1" dirty="0">
                  <a:solidFill>
                    <a:schemeClr val="tx1"/>
                  </a:solidFill>
                </a:rPr>
                <a:t>Algemene </a:t>
              </a:r>
              <a:br>
                <a:rPr lang="nl-NL" b="1" dirty="0">
                  <a:solidFill>
                    <a:schemeClr val="tx1"/>
                  </a:solidFill>
                </a:rPr>
              </a:br>
              <a:r>
                <a:rPr lang="nl-NL" b="1" dirty="0">
                  <a:solidFill>
                    <a:schemeClr val="tx1"/>
                  </a:solidFill>
                </a:rPr>
                <a:t>uitkering gemeentefonds</a:t>
              </a:r>
            </a:p>
          </p:txBody>
        </p:sp>
      </p:grpSp>
      <p:sp>
        <p:nvSpPr>
          <p:cNvPr id="6" name="Text Placeholder 5">
            <a:extLst>
              <a:ext uri="{FF2B5EF4-FFF2-40B4-BE49-F238E27FC236}">
                <a16:creationId xmlns:a16="http://schemas.microsoft.com/office/drawing/2014/main" id="{DDF5FCA7-F66C-493B-986C-A78771903C56}"/>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4FEFA37D-DB95-4B20-95E0-D0DFC1E1B0FB}"/>
              </a:ext>
            </a:extLst>
          </p:cNvPr>
          <p:cNvSpPr>
            <a:spLocks noGrp="1"/>
          </p:cNvSpPr>
          <p:nvPr>
            <p:ph type="title"/>
          </p:nvPr>
        </p:nvSpPr>
        <p:spPr/>
        <p:txBody>
          <a:bodyPr vert="horz"/>
          <a:lstStyle/>
          <a:p>
            <a:r>
              <a:rPr lang="nl-NL" dirty="0"/>
              <a:t>De twee modellen worden passend gemaakt mbv de uitkeringsfactor</a:t>
            </a:r>
          </a:p>
        </p:txBody>
      </p:sp>
      <p:sp>
        <p:nvSpPr>
          <p:cNvPr id="10" name="Slide Number Placeholder 9">
            <a:extLst>
              <a:ext uri="{FF2B5EF4-FFF2-40B4-BE49-F238E27FC236}">
                <a16:creationId xmlns:a16="http://schemas.microsoft.com/office/drawing/2014/main" id="{A033506C-C991-4121-8F86-A78125FA0FE5}"/>
              </a:ext>
            </a:extLst>
          </p:cNvPr>
          <p:cNvSpPr>
            <a:spLocks noGrp="1"/>
          </p:cNvSpPr>
          <p:nvPr>
            <p:ph type="sldNum" sz="quarter" idx="12"/>
          </p:nvPr>
        </p:nvSpPr>
        <p:spPr/>
        <p:txBody>
          <a:bodyPr/>
          <a:lstStyle/>
          <a:p>
            <a:fld id="{992CD0B2-8AB2-4C6C-8876-E15753662C9B}" type="slidenum">
              <a:rPr lang="nl-NL" noProof="0" smtClean="0"/>
              <a:pPr/>
              <a:t>9</a:t>
            </a:fld>
            <a:endParaRPr lang="nl-NL" noProof="0" dirty="0"/>
          </a:p>
        </p:txBody>
      </p:sp>
      <p:sp>
        <p:nvSpPr>
          <p:cNvPr id="18" name="Rectangle 17">
            <a:extLst>
              <a:ext uri="{FF2B5EF4-FFF2-40B4-BE49-F238E27FC236}">
                <a16:creationId xmlns:a16="http://schemas.microsoft.com/office/drawing/2014/main" id="{E9D53BBC-E914-4C3E-9B0B-78F99801803F}"/>
              </a:ext>
            </a:extLst>
          </p:cNvPr>
          <p:cNvSpPr/>
          <p:nvPr/>
        </p:nvSpPr>
        <p:spPr>
          <a:xfrm>
            <a:off x="888143" y="2400607"/>
            <a:ext cx="4183570" cy="4002833"/>
          </a:xfrm>
          <a:prstGeom prst="rect">
            <a:avLst/>
          </a:prstGeom>
          <a:solidFill>
            <a:srgbClr val="FFFFFF">
              <a:alpha val="69804"/>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4" name="Flowchart: Connector 23">
            <a:extLst>
              <a:ext uri="{FF2B5EF4-FFF2-40B4-BE49-F238E27FC236}">
                <a16:creationId xmlns:a16="http://schemas.microsoft.com/office/drawing/2014/main" id="{3220E69D-0C30-4244-A8C9-87552E82D591}"/>
              </a:ext>
            </a:extLst>
          </p:cNvPr>
          <p:cNvSpPr/>
          <p:nvPr/>
        </p:nvSpPr>
        <p:spPr>
          <a:xfrm>
            <a:off x="1052890" y="2277608"/>
            <a:ext cx="3760418" cy="3760418"/>
          </a:xfrm>
          <a:prstGeom prst="flowChartConnector">
            <a:avLst/>
          </a:prstGeom>
          <a:noFill/>
          <a:ln w="28575" cap="flat">
            <a:solidFill>
              <a:srgbClr val="22777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solidFill>
                <a:schemeClr val="tx1"/>
              </a:solidFill>
            </a:endParaRPr>
          </a:p>
        </p:txBody>
      </p:sp>
      <p:sp>
        <p:nvSpPr>
          <p:cNvPr id="32" name="Flowchart: Connector 31">
            <a:extLst>
              <a:ext uri="{FF2B5EF4-FFF2-40B4-BE49-F238E27FC236}">
                <a16:creationId xmlns:a16="http://schemas.microsoft.com/office/drawing/2014/main" id="{FCD493D9-73BF-4FAE-B904-027D5E6F4E45}"/>
              </a:ext>
            </a:extLst>
          </p:cNvPr>
          <p:cNvSpPr/>
          <p:nvPr/>
        </p:nvSpPr>
        <p:spPr>
          <a:xfrm>
            <a:off x="1792909" y="3021771"/>
            <a:ext cx="2280379" cy="2280379"/>
          </a:xfrm>
          <a:prstGeom prst="flowChartConnector">
            <a:avLst/>
          </a:prstGeom>
          <a:noFill/>
          <a:ln w="28575"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p>
        </p:txBody>
      </p:sp>
      <p:sp>
        <p:nvSpPr>
          <p:cNvPr id="34" name="Arc 33">
            <a:extLst>
              <a:ext uri="{FF2B5EF4-FFF2-40B4-BE49-F238E27FC236}">
                <a16:creationId xmlns:a16="http://schemas.microsoft.com/office/drawing/2014/main" id="{A404B108-4EDD-4354-A68F-D1D93CD7EE20}"/>
              </a:ext>
            </a:extLst>
          </p:cNvPr>
          <p:cNvSpPr/>
          <p:nvPr/>
        </p:nvSpPr>
        <p:spPr>
          <a:xfrm rot="8212054">
            <a:off x="4039333" y="3476740"/>
            <a:ext cx="801512" cy="816750"/>
          </a:xfrm>
          <a:prstGeom prst="arc">
            <a:avLst>
              <a:gd name="adj1" fmla="val 15929752"/>
              <a:gd name="adj2" fmla="val 0"/>
            </a:avLst>
          </a:prstGeom>
          <a:ln w="28575">
            <a:solidFill>
              <a:srgbClr val="22777B"/>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35" name="TextBox 34">
            <a:extLst>
              <a:ext uri="{FF2B5EF4-FFF2-40B4-BE49-F238E27FC236}">
                <a16:creationId xmlns:a16="http://schemas.microsoft.com/office/drawing/2014/main" id="{1B479AF0-F501-47FE-B623-923A544A77AA}"/>
              </a:ext>
            </a:extLst>
          </p:cNvPr>
          <p:cNvSpPr txBox="1"/>
          <p:nvPr/>
        </p:nvSpPr>
        <p:spPr>
          <a:xfrm>
            <a:off x="3860245" y="4314979"/>
            <a:ext cx="1160622" cy="424732"/>
          </a:xfrm>
          <a:prstGeom prst="rect">
            <a:avLst/>
          </a:prstGeom>
          <a:noFill/>
        </p:spPr>
        <p:txBody>
          <a:bodyPr wrap="square">
            <a:spAutoFit/>
          </a:bodyPr>
          <a:lstStyle/>
          <a:p>
            <a:pPr marL="0" indent="0" algn="ctr">
              <a:buNone/>
            </a:pPr>
            <a:r>
              <a:rPr lang="nl-NL" sz="1200" b="1" dirty="0"/>
              <a:t>Uitkerings-</a:t>
            </a:r>
            <a:br>
              <a:rPr lang="nl-NL" sz="1200" b="1" dirty="0"/>
            </a:br>
            <a:r>
              <a:rPr lang="nl-NL" sz="1200" b="1" dirty="0"/>
              <a:t>factor</a:t>
            </a:r>
          </a:p>
        </p:txBody>
      </p:sp>
      <p:sp>
        <p:nvSpPr>
          <p:cNvPr id="38" name="Flowchart: Connector 37">
            <a:extLst>
              <a:ext uri="{FF2B5EF4-FFF2-40B4-BE49-F238E27FC236}">
                <a16:creationId xmlns:a16="http://schemas.microsoft.com/office/drawing/2014/main" id="{3694A697-EE37-42F8-86F0-71391D7BA615}"/>
              </a:ext>
            </a:extLst>
          </p:cNvPr>
          <p:cNvSpPr/>
          <p:nvPr/>
        </p:nvSpPr>
        <p:spPr>
          <a:xfrm>
            <a:off x="4349211" y="3911846"/>
            <a:ext cx="223988" cy="223988"/>
          </a:xfrm>
          <a:prstGeom prst="flowChartConnector">
            <a:avLst/>
          </a:prstGeom>
          <a:solidFill>
            <a:srgbClr val="FFBD42"/>
          </a:solidFill>
          <a:ln w="19050"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3</a:t>
            </a:r>
          </a:p>
        </p:txBody>
      </p:sp>
      <p:sp>
        <p:nvSpPr>
          <p:cNvPr id="41" name="Content Placeholder 29">
            <a:extLst>
              <a:ext uri="{FF2B5EF4-FFF2-40B4-BE49-F238E27FC236}">
                <a16:creationId xmlns:a16="http://schemas.microsoft.com/office/drawing/2014/main" id="{25B06F52-9669-4C3C-AD46-0633DE2DA516}"/>
              </a:ext>
            </a:extLst>
          </p:cNvPr>
          <p:cNvSpPr txBox="1">
            <a:spLocks/>
          </p:cNvSpPr>
          <p:nvPr/>
        </p:nvSpPr>
        <p:spPr>
          <a:xfrm>
            <a:off x="6096000" y="2696850"/>
            <a:ext cx="5420780" cy="3040470"/>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1200"/>
              </a:spcBef>
              <a:buNone/>
            </a:pPr>
            <a:r>
              <a:rPr lang="nl-NL" sz="1400" b="1" dirty="0"/>
              <a:t>Uitkeringsfactor:</a:t>
            </a:r>
            <a:r>
              <a:rPr lang="nl-NL" b="1" dirty="0"/>
              <a:t> </a:t>
            </a:r>
            <a:r>
              <a:rPr lang="nl-NL" sz="1400" dirty="0"/>
              <a:t>Het </a:t>
            </a:r>
            <a:r>
              <a:rPr lang="nl-NL" dirty="0"/>
              <a:t>uitgekeerde </a:t>
            </a:r>
            <a:r>
              <a:rPr lang="nl-NL" sz="1400" dirty="0"/>
              <a:t>bedrag uit de algemene uitkering relateert niet direct aan de berekende gemeentelijke werklast, maar wordt pas verkregen na vermenigvuldiging met de zogenoemde ‘uitkeringsfactor’.</a:t>
            </a:r>
            <a:endParaRPr lang="nl-NL" b="1" dirty="0"/>
          </a:p>
          <a:p>
            <a:pPr marL="0" indent="0">
              <a:spcBef>
                <a:spcPts val="1200"/>
              </a:spcBef>
              <a:buNone/>
            </a:pPr>
            <a:r>
              <a:rPr lang="nl-NL" dirty="0"/>
              <a:t>Omdat de gewichten van verdeelmaatstaven niet meebewegen met inflatie en de algemene uitkering zich ontwikkelt onafhankelijk van de ontwikkeling in werklast, fluctueert het verschil in omvang tussen de werklast en algemene uitkering. De uitkeringsfactor is de verhouding tussen beide en maakt ze sluitend. </a:t>
            </a:r>
          </a:p>
          <a:p>
            <a:pPr marL="0" indent="0">
              <a:spcBef>
                <a:spcPts val="1200"/>
              </a:spcBef>
              <a:buNone/>
            </a:pPr>
            <a:r>
              <a:rPr lang="nl-NL" i="1" dirty="0"/>
              <a:t>Voorbeeld: I</a:t>
            </a:r>
            <a:r>
              <a:rPr lang="nl-NL" i="1" noProof="0" dirty="0"/>
              <a:t>n 2020 was de omvang van gemeentelijk werk en de algemene uitkering respectievelijk 16,5 en 26,8 mld. Om de omvang van </a:t>
            </a:r>
            <a:r>
              <a:rPr lang="nl-NL" i="1" dirty="0"/>
              <a:t>de werklast en algemene uitkering op elkaar aan te laten sluiten is de</a:t>
            </a:r>
            <a:r>
              <a:rPr lang="nl-NL" i="1" noProof="0" dirty="0"/>
              <a:t> uitkeringsfactor dat jaar bepaald op 1,623. In 2021 steeg deze naar 1,690.</a:t>
            </a:r>
            <a:endParaRPr lang="nl-NL" i="1" dirty="0"/>
          </a:p>
        </p:txBody>
      </p:sp>
      <p:sp>
        <p:nvSpPr>
          <p:cNvPr id="42" name="Flowchart: Connector 41">
            <a:extLst>
              <a:ext uri="{FF2B5EF4-FFF2-40B4-BE49-F238E27FC236}">
                <a16:creationId xmlns:a16="http://schemas.microsoft.com/office/drawing/2014/main" id="{E2D21B39-1C38-4ADB-AB9F-F365F8D85F35}"/>
              </a:ext>
            </a:extLst>
          </p:cNvPr>
          <p:cNvSpPr/>
          <p:nvPr/>
        </p:nvSpPr>
        <p:spPr>
          <a:xfrm>
            <a:off x="5870555" y="2756020"/>
            <a:ext cx="223988" cy="223988"/>
          </a:xfrm>
          <a:prstGeom prst="flowChartConnector">
            <a:avLst/>
          </a:prstGeom>
          <a:solidFill>
            <a:srgbClr val="FFBD42"/>
          </a:solidFill>
          <a:ln w="19050" cap="flat">
            <a:noFill/>
            <a:prstDash val="solid"/>
            <a:miter/>
          </a:ln>
          <a:extLst>
            <a:ext uri="{91240B29-F687-4F45-9708-019B960494DF}">
              <a14:hiddenLine xmlns:a14="http://schemas.microsoft.com/office/drawing/2010/main" w="19050" cap="flat">
                <a:solidFill>
                  <a:schemeClr val="tx1"/>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3</a:t>
            </a:r>
          </a:p>
        </p:txBody>
      </p:sp>
      <p:sp>
        <p:nvSpPr>
          <p:cNvPr id="20" name="Rectangle: Rounded Corners 19">
            <a:extLst>
              <a:ext uri="{FF2B5EF4-FFF2-40B4-BE49-F238E27FC236}">
                <a16:creationId xmlns:a16="http://schemas.microsoft.com/office/drawing/2014/main" id="{8BC0AD3C-8000-4809-93A0-0A323BF78141}"/>
              </a:ext>
            </a:extLst>
          </p:cNvPr>
          <p:cNvSpPr/>
          <p:nvPr/>
        </p:nvSpPr>
        <p:spPr>
          <a:xfrm>
            <a:off x="2025160" y="2118695"/>
            <a:ext cx="1757332" cy="285860"/>
          </a:xfrm>
          <a:prstGeom prst="roundRect">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1.Omvangsmodel</a:t>
            </a:r>
          </a:p>
        </p:txBody>
      </p:sp>
      <p:sp>
        <p:nvSpPr>
          <p:cNvPr id="22" name="Rectangle: Rounded Corners 21">
            <a:extLst>
              <a:ext uri="{FF2B5EF4-FFF2-40B4-BE49-F238E27FC236}">
                <a16:creationId xmlns:a16="http://schemas.microsoft.com/office/drawing/2014/main" id="{2C19C586-9165-4A91-93A9-B7170A171A0E}"/>
              </a:ext>
            </a:extLst>
          </p:cNvPr>
          <p:cNvSpPr/>
          <p:nvPr/>
        </p:nvSpPr>
        <p:spPr>
          <a:xfrm>
            <a:off x="2043830" y="3778959"/>
            <a:ext cx="1757332" cy="285860"/>
          </a:xfrm>
          <a:prstGeom prst="roundRect">
            <a:avLst/>
          </a:prstGeom>
          <a:solidFill>
            <a:srgbClr val="FFC000"/>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2. Verdeelmodel</a:t>
            </a:r>
          </a:p>
        </p:txBody>
      </p:sp>
    </p:spTree>
    <p:extLst>
      <p:ext uri="{BB962C8B-B14F-4D97-AF65-F5344CB8AC3E}">
        <p14:creationId xmlns:p14="http://schemas.microsoft.com/office/powerpoint/2010/main" val="16581729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CE&quot; b=&quot;74&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4266"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24-08 gmntfonds" id="{1D76F302-7CC8-4518-B741-F810BA43D171}" vid="{1B98A25E-6033-43EB-9831-1EB187C3569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mntfonds v-24-08</Template>
  <TotalTime>37998</TotalTime>
  <Words>1614</Words>
  <Application>Microsoft Office PowerPoint</Application>
  <PresentationFormat>Widescreen</PresentationFormat>
  <Paragraphs>174</Paragraphs>
  <Slides>13</Slides>
  <Notes>8</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9" baseType="lpstr">
      <vt:lpstr>Noto Sans Symbols</vt:lpstr>
      <vt:lpstr>Wingdings</vt:lpstr>
      <vt:lpstr>Corbel</vt:lpstr>
      <vt:lpstr>itspublic 20200925</vt:lpstr>
      <vt:lpstr>AMSTERDAM template</vt:lpstr>
      <vt:lpstr>think-cell Slide</vt:lpstr>
      <vt:lpstr>Introductie Gemeentefonds  Hoe werkt de algemene uitkering van het gemeentefonds?</vt:lpstr>
      <vt:lpstr>Focus van dit document</vt:lpstr>
      <vt:lpstr>Samenvatting</vt:lpstr>
      <vt:lpstr> Gemeentefonds belangrijkste inkomstenbron voor gemeenten</vt:lpstr>
      <vt:lpstr>De totale uitkering gemeentefondsuitkering bestaat uit een algemeen en aanvullend deel</vt:lpstr>
      <vt:lpstr>Eerst wordt de totale omvang van het gemeentefonds bepaald, vervolgens de verdeling over de gemeenten</vt:lpstr>
      <vt:lpstr>Werking van het omvangsmodel</vt:lpstr>
      <vt:lpstr>Werking van het verdeel- en werklastmodel</vt:lpstr>
      <vt:lpstr>De twee modellen worden passend gemaakt mbv de uitkeringsfactor</vt:lpstr>
      <vt:lpstr>Het aandeel dat een gemeente uit het totaal fonds ontvangt is afhankelijk van ongeveer 80 maatstaven</vt:lpstr>
      <vt:lpstr>    Bijlage 1 Overzicht van gemeentelijke inkomstenbronnen</vt:lpstr>
      <vt:lpstr>Bijlage 2 Totale uitkering gemeentefonds in 2021 is 34,6 miljar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es van der Meeren</dc:creator>
  <dc:description/>
  <cp:lastModifiedBy>Bas Verviers</cp:lastModifiedBy>
  <cp:revision>108</cp:revision>
  <cp:lastPrinted>2021-09-09T14:28:40Z</cp:lastPrinted>
  <dcterms:created xsi:type="dcterms:W3CDTF">2021-08-24T09:15:59Z</dcterms:created>
  <dcterms:modified xsi:type="dcterms:W3CDTF">2022-03-10T09:16:36Z</dcterms:modified>
</cp:coreProperties>
</file>